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7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9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0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3" r:id="rId3"/>
    <p:sldMasterId id="2147483687" r:id="rId4"/>
    <p:sldMasterId id="2147483705" r:id="rId5"/>
    <p:sldMasterId id="2147483723" r:id="rId6"/>
    <p:sldMasterId id="2147483741" r:id="rId7"/>
    <p:sldMasterId id="2147483757" r:id="rId8"/>
    <p:sldMasterId id="2147483772" r:id="rId9"/>
    <p:sldMasterId id="2147483784" r:id="rId10"/>
    <p:sldMasterId id="2147483796" r:id="rId11"/>
  </p:sldMasterIdLst>
  <p:notesMasterIdLst>
    <p:notesMasterId r:id="rId46"/>
  </p:notesMasterIdLst>
  <p:sldIdLst>
    <p:sldId id="266" r:id="rId12"/>
    <p:sldId id="290" r:id="rId13"/>
    <p:sldId id="299" r:id="rId14"/>
    <p:sldId id="313" r:id="rId15"/>
    <p:sldId id="314" r:id="rId16"/>
    <p:sldId id="315" r:id="rId17"/>
    <p:sldId id="316" r:id="rId18"/>
    <p:sldId id="317" r:id="rId19"/>
    <p:sldId id="318" r:id="rId20"/>
    <p:sldId id="319" r:id="rId21"/>
    <p:sldId id="320" r:id="rId22"/>
    <p:sldId id="321" r:id="rId23"/>
    <p:sldId id="322" r:id="rId24"/>
    <p:sldId id="323" r:id="rId25"/>
    <p:sldId id="324" r:id="rId26"/>
    <p:sldId id="325" r:id="rId27"/>
    <p:sldId id="326" r:id="rId28"/>
    <p:sldId id="327" r:id="rId29"/>
    <p:sldId id="328" r:id="rId30"/>
    <p:sldId id="329" r:id="rId31"/>
    <p:sldId id="330" r:id="rId32"/>
    <p:sldId id="331" r:id="rId33"/>
    <p:sldId id="332" r:id="rId34"/>
    <p:sldId id="333" r:id="rId35"/>
    <p:sldId id="334" r:id="rId36"/>
    <p:sldId id="335" r:id="rId37"/>
    <p:sldId id="336" r:id="rId38"/>
    <p:sldId id="337" r:id="rId39"/>
    <p:sldId id="338" r:id="rId40"/>
    <p:sldId id="339" r:id="rId41"/>
    <p:sldId id="340" r:id="rId42"/>
    <p:sldId id="341" r:id="rId43"/>
    <p:sldId id="342" r:id="rId44"/>
    <p:sldId id="267" r:id="rId4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A1D9"/>
    <a:srgbClr val="F96A1B"/>
    <a:srgbClr val="FFB59E"/>
    <a:srgbClr val="7C984A"/>
    <a:srgbClr val="CCE0F1"/>
    <a:srgbClr val="00B0F0"/>
    <a:srgbClr val="BEBF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77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6ABD62-BC04-4D14-A4E8-A69C0D9BD600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999C76-EC71-4344-9EC7-05212850EB9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18F03C3-53C1-4F10-8DAF-D1F318E96C6E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94416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8512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89543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087909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5810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49183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13138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98365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59782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0803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75709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761817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919476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88608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28597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0996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177054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82162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499837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F03C3-53C1-4F10-8DAF-D1F318E96C6E}" type="slidenum">
              <a:rPr lang="zh-CN" altLang="en-US" smtClean="0"/>
              <a:t>3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622485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13934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90010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88124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03924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65010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B0B010-4AE4-47DF-9D4C-C7E05AC6AD44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54066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Relationship Id="rId4" Type="http://schemas.openxmlformats.org/officeDocument/2006/relationships/hyperlink" Target="http://teliss.blog.163.com/" TargetMode="Externa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050" name="Picture 2" descr="C:\Users\fanliyuan\Desktop\PPT模板-2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881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 hasCustomPrompt="1"/>
          </p:nvPr>
        </p:nvSpPr>
        <p:spPr>
          <a:xfrm>
            <a:off x="527381" y="1341438"/>
            <a:ext cx="11233248" cy="151130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4" hasCustomPrompt="1"/>
          </p:nvPr>
        </p:nvSpPr>
        <p:spPr>
          <a:xfrm>
            <a:off x="527051" y="3284538"/>
            <a:ext cx="11233149" cy="2881312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032438" y="6641976"/>
            <a:ext cx="1632181" cy="21602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075" tIns="46038" rIns="92075" bIns="46038" numCol="1" anchor="t" anchorCtr="0" compatLnSpc="1"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80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643715" y="6641978"/>
            <a:ext cx="527912" cy="216023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>
              <a:defRPr/>
            </a:pPr>
            <a:fld id="{CFF10007-8FCC-43DC-B82D-4AE4189E914C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1" name="標題 1"/>
          <p:cNvSpPr>
            <a:spLocks noGrp="1"/>
          </p:cNvSpPr>
          <p:nvPr>
            <p:ph type="title" hasCustomPrompt="1"/>
          </p:nvPr>
        </p:nvSpPr>
        <p:spPr>
          <a:xfrm>
            <a:off x="527381" y="404664"/>
            <a:ext cx="8502187" cy="384498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单击以编辑母片标题样式</a:t>
            </a:r>
            <a:endParaRPr 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3417" y="515939"/>
            <a:ext cx="11582400" cy="8159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表格占位符 2"/>
          <p:cNvSpPr>
            <a:spLocks noGrp="1"/>
          </p:cNvSpPr>
          <p:nvPr>
            <p:ph type="tbl" idx="1" hasCustomPrompt="1"/>
          </p:nvPr>
        </p:nvSpPr>
        <p:spPr>
          <a:xfrm>
            <a:off x="243417" y="1863725"/>
            <a:ext cx="11582400" cy="44910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0"/>
              <a:t>单击图标添加表格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71FACB-E2A5-42D9-9B9C-B938D89F14D9}" type="slidenum">
              <a:rPr lang="zh-CN" altLang="en-US">
                <a:solidFill>
                  <a:srgbClr val="000000"/>
                </a:solidFill>
              </a:r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2072217" y="6548438"/>
            <a:ext cx="7924800" cy="1841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2"/>
          </p:nvPr>
        </p:nvSpPr>
        <p:spPr>
          <a:xfrm>
            <a:off x="732367" y="6548438"/>
            <a:ext cx="1339851" cy="1841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>
              <a:defRPr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2202763C-C4F6-4993-92BC-FD5DDAA8386F}" type="datetime1">
              <a:rPr lang="zh-CN" altLang="en-US" smtClean="0">
                <a:solidFill>
                  <a:srgbClr val="000000"/>
                </a:solidFill>
              </a:rPr>
              <a:t>2020/4/26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C:\Documents and Settings\DingQi\桌面\封面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PPBand0"/>
          <p:cNvSpPr>
            <a:spLocks noGrp="1" noChangeArrowheads="1"/>
          </p:cNvSpPr>
          <p:nvPr>
            <p:ph type="ctrTitle"/>
          </p:nvPr>
        </p:nvSpPr>
        <p:spPr>
          <a:xfrm>
            <a:off x="1390651" y="4643438"/>
            <a:ext cx="9563100" cy="5778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副标题 4"/>
          <p:cNvSpPr>
            <a:spLocks noGrp="1"/>
          </p:cNvSpPr>
          <p:nvPr>
            <p:ph type="subTitle" idx="4294967295" hasCustomPrompt="1"/>
          </p:nvPr>
        </p:nvSpPr>
        <p:spPr>
          <a:xfrm>
            <a:off x="2029886" y="5287963"/>
            <a:ext cx="8257116" cy="647700"/>
          </a:xfrm>
        </p:spPr>
        <p:txBody>
          <a:bodyPr/>
          <a:lstStyle/>
          <a:p>
            <a:r>
              <a:rPr lang="zh-CN" altLang="en-US"/>
              <a:t>单击以编辑母版副标题样式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65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35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0973163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37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535517" y="1125538"/>
            <a:ext cx="5509683" cy="5327650"/>
          </a:xfrm>
        </p:spPr>
        <p:txBody>
          <a:bodyPr/>
          <a:lstStyle>
            <a:lvl1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15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35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2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2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248400" y="1125538"/>
            <a:ext cx="5511800" cy="5327650"/>
          </a:xfrm>
        </p:spPr>
        <p:txBody>
          <a:bodyPr/>
          <a:lstStyle>
            <a:lvl1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15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35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2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2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634082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9600" y="1124744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09600" y="1764506"/>
            <a:ext cx="5386917" cy="476083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92" y="1124744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93392" y="1764506"/>
            <a:ext cx="5389033" cy="476083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5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0973163" y="6489819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0975237" y="6489819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3" y="960263"/>
            <a:ext cx="4011084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766733" y="960265"/>
            <a:ext cx="6815667" cy="5853113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09603" y="2122319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5225752"/>
            <a:ext cx="73152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1037927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zh-CN" altLang="en-US" noProof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792490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953503" y="333378"/>
            <a:ext cx="2806700" cy="611981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527060" y="333378"/>
            <a:ext cx="8223249" cy="6119813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11" hasCustomPrompt="1"/>
          </p:nvPr>
        </p:nvSpPr>
        <p:spPr>
          <a:xfrm>
            <a:off x="381001" y="1143010"/>
            <a:ext cx="11525251" cy="2500313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2" hasCustomPrompt="1"/>
          </p:nvPr>
        </p:nvSpPr>
        <p:spPr>
          <a:xfrm>
            <a:off x="381001" y="3857625"/>
            <a:ext cx="11525251" cy="257175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 hasCustomPrompt="1"/>
          </p:nvPr>
        </p:nvSpPr>
        <p:spPr>
          <a:xfrm>
            <a:off x="527381" y="1341438"/>
            <a:ext cx="11233248" cy="151130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4" hasCustomPrompt="1"/>
          </p:nvPr>
        </p:nvSpPr>
        <p:spPr>
          <a:xfrm>
            <a:off x="527052" y="3284538"/>
            <a:ext cx="11233149" cy="2881312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Line 4"/>
          <p:cNvSpPr>
            <a:spLocks noChangeShapeType="1"/>
          </p:cNvSpPr>
          <p:nvPr/>
        </p:nvSpPr>
        <p:spPr bwMode="auto">
          <a:xfrm flipV="1">
            <a:off x="366191" y="1220788"/>
            <a:ext cx="114596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90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050" name="Picture 2" descr="C:\Users\fanliyuan\Desktop\PPT模板-2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881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占位符 2"/>
          <p:cNvSpPr txBox="1"/>
          <p:nvPr/>
        </p:nvSpPr>
        <p:spPr>
          <a:xfrm>
            <a:off x="-2574" y="-3556"/>
            <a:ext cx="2856300" cy="119817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密级级别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6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效时间：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密期限：</a:t>
            </a:r>
            <a:endParaRPr lang="zh-CN" altLang="en-US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026" name="Picture 2" descr="C:\Users\fanliyuan\Desktop\PPT模板-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99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5" b="1" cap="all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5">
                <a:solidFill>
                  <a:schemeClr val="tx1">
                    <a:tint val="75000"/>
                  </a:schemeClr>
                </a:solidFill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1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1087755"/>
            <a:fld id="{6A82B250-D546-49E2-B77B-68BB642F927D}" type="datetimeFigureOut">
              <a:rPr lang="zh-CN" altLang="en-US" sz="2100" smtClean="0">
                <a:solidFill>
                  <a:srgbClr val="000000"/>
                </a:solidFill>
              </a:rPr>
              <a:t>2020/4/26</a:t>
            </a:fld>
            <a:endParaRPr lang="zh-CN" altLang="en-US" sz="2100">
              <a:solidFill>
                <a:srgbClr val="000000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1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1087755"/>
            <a:r>
              <a:rPr lang="zh-CN" altLang="en-US" sz="2100">
                <a:solidFill>
                  <a:srgbClr val="000000"/>
                </a:solidFill>
              </a:rPr>
              <a:t>海康威视</a:t>
            </a:r>
            <a:r>
              <a:rPr lang="en-US" altLang="zh-CN" sz="2100">
                <a:solidFill>
                  <a:srgbClr val="000000"/>
                </a:solidFill>
              </a:rPr>
              <a:t>|</a:t>
            </a:r>
            <a:r>
              <a:rPr lang="zh-CN" altLang="en-US" sz="2100">
                <a:solidFill>
                  <a:srgbClr val="000000"/>
                </a:solidFill>
              </a:rPr>
              <a:t>楼宇事业部</a:t>
            </a:r>
            <a:endParaRPr lang="zh-CN" altLang="en-US" sz="2100" dirty="0">
              <a:solidFill>
                <a:srgbClr val="000000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1087755"/>
            <a:fld id="{F99D9E2F-6B03-4D3F-8B1E-580C45D1A597}" type="slidenum">
              <a:rPr lang="zh-CN" altLang="en-US" sz="2100" smtClean="0">
                <a:solidFill>
                  <a:srgbClr val="000000"/>
                </a:solidFill>
              </a:rPr>
              <a:t>‹#›</a:t>
            </a:fld>
            <a:endParaRPr lang="zh-CN" altLang="en-US" sz="2100" dirty="0">
              <a:solidFill>
                <a:srgbClr val="000000"/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algn="ctr" defTabSz="1087755"/>
            <a:endParaRPr lang="zh-CN" altLang="en-US" sz="2100">
              <a:solidFill>
                <a:srgbClr val="FFFFFF"/>
              </a:solidFill>
            </a:endParaRPr>
          </a:p>
        </p:txBody>
      </p:sp>
      <p:sp>
        <p:nvSpPr>
          <p:cNvPr id="9" name="矩形 8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algn="ctr" defTabSz="1087755"/>
            <a:endParaRPr lang="zh-CN" altLang="en-US" sz="210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200151"/>
            <a:ext cx="5384800" cy="3394075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97600" y="1200151"/>
            <a:ext cx="5384800" cy="3394075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5"/>
            </a:lvl2pPr>
            <a:lvl3pPr>
              <a:defRPr sz="2400"/>
            </a:lvl3pPr>
            <a:lvl4pPr>
              <a:defRPr sz="2135"/>
            </a:lvl4pPr>
            <a:lvl5pPr>
              <a:defRPr sz="2135"/>
            </a:lvl5pPr>
            <a:lvl6pPr>
              <a:defRPr sz="2135"/>
            </a:lvl6pPr>
            <a:lvl7pPr>
              <a:defRPr sz="2135"/>
            </a:lvl7pPr>
            <a:lvl8pPr>
              <a:defRPr sz="2135"/>
            </a:lvl8pPr>
            <a:lvl9pPr>
              <a:defRPr sz="213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5"/>
            </a:lvl2pPr>
            <a:lvl3pPr>
              <a:defRPr sz="2400"/>
            </a:lvl3pPr>
            <a:lvl4pPr>
              <a:defRPr sz="2135"/>
            </a:lvl4pPr>
            <a:lvl5pPr>
              <a:defRPr sz="2135"/>
            </a:lvl5pPr>
            <a:lvl6pPr>
              <a:defRPr sz="2135"/>
            </a:lvl6pPr>
            <a:lvl7pPr>
              <a:defRPr sz="2135"/>
            </a:lvl7pPr>
            <a:lvl8pPr>
              <a:defRPr sz="2135"/>
            </a:lvl8pPr>
            <a:lvl9pPr>
              <a:defRPr sz="213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5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5"/>
            </a:lvl1pPr>
            <a:lvl2pPr>
              <a:defRPr sz="3735"/>
            </a:lvl2pPr>
            <a:lvl3pPr>
              <a:defRPr sz="3200"/>
            </a:lvl3pPr>
            <a:lvl4pPr>
              <a:defRPr sz="2665"/>
            </a:lvl4pPr>
            <a:lvl5pPr>
              <a:defRPr sz="2665"/>
            </a:lvl5pPr>
            <a:lvl6pPr>
              <a:defRPr sz="2665"/>
            </a:lvl6pPr>
            <a:lvl7pPr>
              <a:defRPr sz="2665"/>
            </a:lvl7pPr>
            <a:lvl8pPr>
              <a:defRPr sz="2665"/>
            </a:lvl8pPr>
            <a:lvl9pPr>
              <a:defRPr sz="266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5"/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5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5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r>
              <a:rPr lang="zh-CN" altLang="en-US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5"/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1485"/>
            <a:ext cx="10363200" cy="1468967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050" name="Picture 2" descr="C:\Users\fanliyuan\Desktop\PPT模板-2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本框 6"/>
          <p:cNvSpPr txBox="1"/>
          <p:nvPr/>
        </p:nvSpPr>
        <p:spPr>
          <a:xfrm>
            <a:off x="6201349" y="3851505"/>
            <a:ext cx="223138" cy="1077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" dirty="0">
                <a:solidFill>
                  <a:schemeClr val="bg1"/>
                </a:solidFill>
              </a:rPr>
              <a:t>董永放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1485"/>
            <a:ext cx="10363200" cy="1468967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050" name="Picture 2" descr="C:\Users\fanliyuan\Desktop\PPT模板-2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5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5">
                <a:solidFill>
                  <a:schemeClr val="tx1">
                    <a:tint val="75000"/>
                  </a:schemeClr>
                </a:solidFill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384800" cy="4525433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97600" y="1600201"/>
            <a:ext cx="5384800" cy="4525433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9600" y="1534584"/>
            <a:ext cx="5386917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3200"/>
            </a:lvl1pPr>
            <a:lvl2pPr>
              <a:defRPr sz="2665"/>
            </a:lvl2pPr>
            <a:lvl3pPr>
              <a:defRPr sz="2400"/>
            </a:lvl3pPr>
            <a:lvl4pPr>
              <a:defRPr sz="2135"/>
            </a:lvl4pPr>
            <a:lvl5pPr>
              <a:defRPr sz="2135"/>
            </a:lvl5pPr>
            <a:lvl6pPr>
              <a:defRPr sz="2135"/>
            </a:lvl6pPr>
            <a:lvl7pPr>
              <a:defRPr sz="2135"/>
            </a:lvl7pPr>
            <a:lvl8pPr>
              <a:defRPr sz="2135"/>
            </a:lvl8pPr>
            <a:lvl9pPr>
              <a:defRPr sz="213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534584"/>
            <a:ext cx="5389033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93368" y="2175934"/>
            <a:ext cx="5389033" cy="3949700"/>
          </a:xfrm>
        </p:spPr>
        <p:txBody>
          <a:bodyPr/>
          <a:lstStyle>
            <a:lvl1pPr>
              <a:defRPr sz="3200"/>
            </a:lvl1pPr>
            <a:lvl2pPr>
              <a:defRPr sz="2665"/>
            </a:lvl2pPr>
            <a:lvl3pPr>
              <a:defRPr sz="2400"/>
            </a:lvl3pPr>
            <a:lvl4pPr>
              <a:defRPr sz="2135"/>
            </a:lvl4pPr>
            <a:lvl5pPr>
              <a:defRPr sz="2135"/>
            </a:lvl5pPr>
            <a:lvl6pPr>
              <a:defRPr sz="2135"/>
            </a:lvl6pPr>
            <a:lvl7pPr>
              <a:defRPr sz="2135"/>
            </a:lvl7pPr>
            <a:lvl8pPr>
              <a:defRPr sz="2135"/>
            </a:lvl8pPr>
            <a:lvl9pPr>
              <a:defRPr sz="213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3052"/>
            <a:ext cx="4011084" cy="1162049"/>
          </a:xfrm>
        </p:spPr>
        <p:txBody>
          <a:bodyPr anchor="b"/>
          <a:lstStyle>
            <a:lvl1pPr algn="l">
              <a:defRPr sz="2665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766733" y="273051"/>
            <a:ext cx="6815667" cy="5852583"/>
          </a:xfrm>
        </p:spPr>
        <p:txBody>
          <a:bodyPr/>
          <a:lstStyle>
            <a:lvl1pPr>
              <a:defRPr sz="4265"/>
            </a:lvl1pPr>
            <a:lvl2pPr>
              <a:defRPr sz="3735"/>
            </a:lvl2pPr>
            <a:lvl3pPr>
              <a:defRPr sz="3200"/>
            </a:lvl3pPr>
            <a:lvl4pPr>
              <a:defRPr sz="2665"/>
            </a:lvl4pPr>
            <a:lvl5pPr>
              <a:defRPr sz="2665"/>
            </a:lvl5pPr>
            <a:lvl6pPr>
              <a:defRPr sz="2665"/>
            </a:lvl6pPr>
            <a:lvl7pPr>
              <a:defRPr sz="2665"/>
            </a:lvl7pPr>
            <a:lvl8pPr>
              <a:defRPr sz="2665"/>
            </a:lvl8pPr>
            <a:lvl9pPr>
              <a:defRPr sz="266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09601" y="1435100"/>
            <a:ext cx="4011084" cy="4690533"/>
          </a:xfrm>
        </p:spPr>
        <p:txBody>
          <a:bodyPr/>
          <a:lstStyle>
            <a:lvl1pPr marL="0" indent="0">
              <a:buNone/>
              <a:defRPr sz="1865"/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7267"/>
          </a:xfrm>
        </p:spPr>
        <p:txBody>
          <a:bodyPr anchor="b"/>
          <a:lstStyle>
            <a:lvl1pPr algn="l">
              <a:defRPr sz="2665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4265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r>
              <a:rPr lang="zh-CN" altLang="en-US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367867"/>
            <a:ext cx="7315200" cy="804333"/>
          </a:xfrm>
        </p:spPr>
        <p:txBody>
          <a:bodyPr/>
          <a:lstStyle>
            <a:lvl1pPr marL="0" indent="0">
              <a:buNone/>
              <a:defRPr sz="1865"/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5167"/>
            <a:ext cx="2743200" cy="5850467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609600" y="275167"/>
            <a:ext cx="8026400" cy="5850467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5183718" y="981084"/>
            <a:ext cx="52324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25" tIns="54412" rIns="108825" bIns="54412"/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zh-CN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12292" y="4437072"/>
            <a:ext cx="9886949" cy="792162"/>
          </a:xfrm>
        </p:spPr>
        <p:txBody>
          <a:bodyPr/>
          <a:lstStyle>
            <a:lvl1pPr algn="ctr">
              <a:defRPr sz="4300">
                <a:solidFill>
                  <a:schemeClr val="tx1"/>
                </a:solidFill>
                <a:latin typeface="黑体" panose="02010609060101010101" pitchFamily="2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678527" y="5373688"/>
            <a:ext cx="8257116" cy="6477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 sz="2900">
                <a:solidFill>
                  <a:schemeClr val="bg2">
                    <a:lumMod val="75000"/>
                  </a:schemeClr>
                </a:solidFill>
                <a:ea typeface="黑体" panose="02010609060101010101" pitchFamily="2" charset="-122"/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7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1084528" y="140750"/>
            <a:ext cx="1915721" cy="2968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1400" b="0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黑体" panose="02010609060101010101" pitchFamily="2" charset="-122"/>
                <a:ea typeface="黑体" panose="02010609060101010101" pitchFamily="2" charset="-122"/>
              </a:defRPr>
            </a:lvl1pPr>
          </a:lstStyle>
          <a:p>
            <a:pPr lvl="0"/>
            <a:r>
              <a:rPr lang="zh-CN" altLang="en-US" dirty="0"/>
              <a:t>单击此处输入密级</a:t>
            </a:r>
          </a:p>
        </p:txBody>
      </p:sp>
      <p:sp>
        <p:nvSpPr>
          <p:cNvPr id="8" name="文本占位符 3"/>
          <p:cNvSpPr>
            <a:spLocks noGrp="1"/>
          </p:cNvSpPr>
          <p:nvPr>
            <p:ph type="body" sz="quarter" idx="11" hasCustomPrompt="1"/>
          </p:nvPr>
        </p:nvSpPr>
        <p:spPr>
          <a:xfrm>
            <a:off x="1084528" y="330654"/>
            <a:ext cx="1915721" cy="326549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1400" b="0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黑体" panose="02010609060101010101" pitchFamily="2" charset="-122"/>
                <a:ea typeface="黑体" panose="02010609060101010101" pitchFamily="2" charset="-122"/>
              </a:defRPr>
            </a:lvl1pPr>
          </a:lstStyle>
          <a:p>
            <a:pPr lvl="0"/>
            <a:r>
              <a:rPr lang="zh-CN" altLang="en-US" dirty="0"/>
              <a:t>单击此处输入日期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2" hasCustomPrompt="1"/>
          </p:nvPr>
        </p:nvSpPr>
        <p:spPr>
          <a:xfrm>
            <a:off x="1084528" y="543183"/>
            <a:ext cx="2095171" cy="2968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1400" b="0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黑体" panose="02010609060101010101" pitchFamily="2" charset="-122"/>
                <a:ea typeface="黑体" panose="02010609060101010101" pitchFamily="2" charset="-122"/>
              </a:defRPr>
            </a:lvl1pPr>
          </a:lstStyle>
          <a:p>
            <a:pPr lvl="0"/>
            <a:r>
              <a:rPr lang="zh-CN" altLang="en-US" dirty="0"/>
              <a:t>单击此处输入保密期</a:t>
            </a:r>
          </a:p>
        </p:txBody>
      </p:sp>
      <p:sp>
        <p:nvSpPr>
          <p:cNvPr id="10" name="文本框 9"/>
          <p:cNvSpPr txBox="1"/>
          <p:nvPr userDrawn="1"/>
        </p:nvSpPr>
        <p:spPr>
          <a:xfrm>
            <a:off x="97555" y="15902"/>
            <a:ext cx="1092528" cy="540800"/>
          </a:xfrm>
          <a:prstGeom prst="rect">
            <a:avLst/>
          </a:prstGeom>
          <a:noFill/>
        </p:spPr>
        <p:txBody>
          <a:bodyPr wrap="square" lIns="108825" tIns="54412" rIns="108825" bIns="54412" rtlCol="0" anchor="ctr">
            <a:spAutoFit/>
          </a:bodyPr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黑体" panose="02010609060101010101" pitchFamily="2" charset="-122"/>
                <a:ea typeface="黑体" panose="02010609060101010101" pitchFamily="2" charset="-122"/>
                <a:cs typeface="+mn-cs"/>
              </a:rPr>
              <a:t>密级级别：</a:t>
            </a:r>
          </a:p>
        </p:txBody>
      </p:sp>
      <p:sp>
        <p:nvSpPr>
          <p:cNvPr id="11" name="文本框 10"/>
          <p:cNvSpPr txBox="1"/>
          <p:nvPr userDrawn="1"/>
        </p:nvSpPr>
        <p:spPr>
          <a:xfrm>
            <a:off x="97555" y="328378"/>
            <a:ext cx="1237672" cy="325282"/>
          </a:xfrm>
          <a:prstGeom prst="rect">
            <a:avLst/>
          </a:prstGeom>
          <a:noFill/>
        </p:spPr>
        <p:txBody>
          <a:bodyPr wrap="square" lIns="108825" tIns="54412" rIns="108825" bIns="54412" rtlCol="0" anchor="ctr">
            <a:spAutoFit/>
          </a:bodyPr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黑体" panose="02010609060101010101" pitchFamily="2" charset="-122"/>
                <a:ea typeface="黑体" panose="02010609060101010101" pitchFamily="2" charset="-122"/>
                <a:cs typeface="+mn-cs"/>
              </a:rPr>
              <a:t>生效时间：</a:t>
            </a:r>
          </a:p>
        </p:txBody>
      </p:sp>
      <p:sp>
        <p:nvSpPr>
          <p:cNvPr id="12" name="文本框 11"/>
          <p:cNvSpPr txBox="1"/>
          <p:nvPr userDrawn="1"/>
        </p:nvSpPr>
        <p:spPr>
          <a:xfrm>
            <a:off x="96927" y="528982"/>
            <a:ext cx="1157134" cy="325282"/>
          </a:xfrm>
          <a:prstGeom prst="rect">
            <a:avLst/>
          </a:prstGeom>
          <a:noFill/>
        </p:spPr>
        <p:txBody>
          <a:bodyPr wrap="square" lIns="108825" tIns="54412" rIns="108825" bIns="54412" rtlCol="0" anchor="ctr">
            <a:spAutoFit/>
          </a:bodyPr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黑体" panose="02010609060101010101" pitchFamily="2" charset="-122"/>
                <a:ea typeface="黑体" panose="02010609060101010101" pitchFamily="2" charset="-122"/>
                <a:cs typeface="+mn-cs"/>
              </a:rPr>
              <a:t>保密期限：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/>
          <p:cNvSpPr/>
          <p:nvPr userDrawn="1"/>
        </p:nvSpPr>
        <p:spPr>
          <a:xfrm>
            <a:off x="1438845" y="9"/>
            <a:ext cx="162000" cy="1210235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1640540" y="605117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1815351" y="516809"/>
            <a:ext cx="1288796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页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gency FB" panose="020B0503020202020204" pitchFamily="34" charset="0"/>
                <a:ea typeface="宋体" panose="02010600030101010101" pitchFamily="2" charset="-122"/>
                <a:cs typeface="+mn-cs"/>
              </a:rPr>
              <a:t>Contents Page</a:t>
            </a:r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正文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478653" y="0"/>
            <a:ext cx="162000" cy="847166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80349" y="242048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904240" y="309516"/>
            <a:ext cx="8648594" cy="3838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kumimoji="0" lang="zh-CN" altLang="en-US" sz="2400" b="1" i="0" u="none" strike="noStrike" kern="1200" cap="none" spc="150" normalizeH="0" baseline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7" y="379619"/>
            <a:ext cx="1584000" cy="206162"/>
          </a:xfrm>
          <a:prstGeom prst="rect">
            <a:avLst/>
          </a:prstGeom>
        </p:spPr>
      </p:pic>
      <p:cxnSp>
        <p:nvCxnSpPr>
          <p:cNvPr id="18" name="直接连接符 17"/>
          <p:cNvCxnSpPr/>
          <p:nvPr userDrawn="1"/>
        </p:nvCxnSpPr>
        <p:spPr>
          <a:xfrm>
            <a:off x="9913889" y="1125278"/>
            <a:ext cx="0" cy="5327358"/>
          </a:xfrm>
          <a:prstGeom prst="line">
            <a:avLst/>
          </a:prstGeom>
          <a:ln>
            <a:solidFill>
              <a:srgbClr val="71717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矩形 14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正文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478653" y="0"/>
            <a:ext cx="162000" cy="847166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80349" y="242048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904240" y="309516"/>
            <a:ext cx="8648594" cy="3838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kumimoji="0" lang="zh-CN" altLang="en-US" sz="2400" b="1" i="0" u="none" strike="noStrike" kern="1200" cap="none" spc="150" normalizeH="0" baseline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7" y="379619"/>
            <a:ext cx="1584000" cy="206162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正文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478653" y="0"/>
            <a:ext cx="162000" cy="847166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80349" y="242048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904240" y="309516"/>
            <a:ext cx="8648594" cy="3838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kumimoji="0" lang="zh-CN" altLang="en-US" sz="2400" b="1" i="0" u="none" strike="noStrike" kern="1200" cap="none" spc="150" normalizeH="0" baseline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7" y="379619"/>
            <a:ext cx="1584000" cy="206162"/>
          </a:xfrm>
          <a:prstGeom prst="rect">
            <a:avLst/>
          </a:prstGeom>
        </p:spPr>
      </p:pic>
      <p:sp>
        <p:nvSpPr>
          <p:cNvPr id="8" name="内容占位符 2"/>
          <p:cNvSpPr>
            <a:spLocks noGrp="1"/>
          </p:cNvSpPr>
          <p:nvPr>
            <p:ph idx="1"/>
          </p:nvPr>
        </p:nvSpPr>
        <p:spPr>
          <a:xfrm>
            <a:off x="478644" y="1124744"/>
            <a:ext cx="11090676" cy="532844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4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5" name="矩形 14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正文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478653" y="0"/>
            <a:ext cx="162000" cy="847166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80349" y="242048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904240" y="309516"/>
            <a:ext cx="8648594" cy="3838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kumimoji="0" lang="zh-CN" altLang="en-US" sz="2400" b="1" i="0" u="none" strike="noStrike" kern="1200" cap="none" spc="150" normalizeH="0" baseline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7" y="379619"/>
            <a:ext cx="1584000" cy="206162"/>
          </a:xfrm>
          <a:prstGeom prst="rect">
            <a:avLst/>
          </a:prstGeom>
        </p:spPr>
      </p:pic>
      <p:sp>
        <p:nvSpPr>
          <p:cNvPr id="17" name="内容占位符 2"/>
          <p:cNvSpPr>
            <a:spLocks noGrp="1"/>
          </p:cNvSpPr>
          <p:nvPr>
            <p:ph idx="1"/>
          </p:nvPr>
        </p:nvSpPr>
        <p:spPr>
          <a:xfrm>
            <a:off x="478644" y="1124744"/>
            <a:ext cx="9074189" cy="532844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4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cxnSp>
        <p:nvCxnSpPr>
          <p:cNvPr id="18" name="直接连接符 17"/>
          <p:cNvCxnSpPr/>
          <p:nvPr userDrawn="1"/>
        </p:nvCxnSpPr>
        <p:spPr>
          <a:xfrm>
            <a:off x="9913889" y="1125278"/>
            <a:ext cx="0" cy="5327358"/>
          </a:xfrm>
          <a:prstGeom prst="line">
            <a:avLst/>
          </a:prstGeom>
          <a:ln>
            <a:solidFill>
              <a:srgbClr val="71717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矩形 2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矩形 3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607324" y="1"/>
            <a:ext cx="162000" cy="847167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7" tIns="45703" rIns="91407" bIns="45703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809026" y="242049"/>
            <a:ext cx="161367" cy="605119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7" tIns="45703" rIns="91407" bIns="45703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7" y="379620"/>
            <a:ext cx="1584000" cy="206163"/>
          </a:xfrm>
          <a:prstGeom prst="rect">
            <a:avLst/>
          </a:prstGeom>
        </p:spPr>
      </p:pic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1010096" y="274451"/>
            <a:ext cx="8846574" cy="540314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5" name="矩形 14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A82B250-D546-49E2-B77B-68BB642F927D}" type="datetimeFigureOut">
              <a:rPr kumimoji="0" lang="zh-CN" altLang="en-US" sz="2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0/4/26</a:t>
            </a:fld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海康威视</a:t>
            </a:r>
            <a:r>
              <a:rPr kumimoji="0" lang="en-US" altLang="zh-CN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|</a:t>
            </a:r>
            <a:r>
              <a:rPr kumimoji="0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楼宇事业部</a:t>
            </a:r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99D9E2F-6B03-4D3F-8B1E-580C45D1A597}" type="slidenum">
              <a:rPr kumimoji="0" lang="zh-CN" altLang="en-US" sz="2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‹#›</a:t>
            </a:fld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607324" y="1"/>
            <a:ext cx="162000" cy="847167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7" tIns="45703" rIns="91407" bIns="45703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809026" y="242049"/>
            <a:ext cx="161367" cy="605119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7" tIns="45703" rIns="91407" bIns="45703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7" y="379620"/>
            <a:ext cx="1584000" cy="206163"/>
          </a:xfrm>
          <a:prstGeom prst="rect">
            <a:avLst/>
          </a:prstGeom>
        </p:spPr>
      </p:pic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1010096" y="274451"/>
            <a:ext cx="8846574" cy="540314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5" name="矩形 14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正文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478654" y="0"/>
            <a:ext cx="162000" cy="847166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80349" y="242048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904240" y="309516"/>
            <a:ext cx="8648594" cy="3838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kumimoji="0" lang="zh-CN" altLang="en-US" sz="2400" b="1" i="0" u="none" strike="noStrike" kern="1200" cap="none" spc="150" normalizeH="0" baseline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8" y="379619"/>
            <a:ext cx="1584000" cy="206162"/>
          </a:xfrm>
          <a:prstGeom prst="rect">
            <a:avLst/>
          </a:prstGeom>
        </p:spPr>
      </p:pic>
      <p:cxnSp>
        <p:nvCxnSpPr>
          <p:cNvPr id="18" name="直接连接符 17"/>
          <p:cNvCxnSpPr/>
          <p:nvPr userDrawn="1"/>
        </p:nvCxnSpPr>
        <p:spPr>
          <a:xfrm>
            <a:off x="9913889" y="1125278"/>
            <a:ext cx="0" cy="5327358"/>
          </a:xfrm>
          <a:prstGeom prst="line">
            <a:avLst/>
          </a:prstGeom>
          <a:ln>
            <a:solidFill>
              <a:srgbClr val="71717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矩形 14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正文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478654" y="0"/>
            <a:ext cx="162000" cy="847166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80349" y="242048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904240" y="309516"/>
            <a:ext cx="8648594" cy="3838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kumimoji="0" lang="zh-CN" altLang="en-US" sz="2400" b="1" i="0" u="none" strike="noStrike" kern="1200" cap="none" spc="150" normalizeH="0" baseline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8" y="379619"/>
            <a:ext cx="1584000" cy="206162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5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5">
                <a:solidFill>
                  <a:schemeClr val="tx1">
                    <a:tint val="75000"/>
                  </a:schemeClr>
                </a:solidFill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正文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478654" y="0"/>
            <a:ext cx="162000" cy="847166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80349" y="242048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904240" y="309516"/>
            <a:ext cx="8648594" cy="3838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kumimoji="0" lang="zh-CN" altLang="en-US" sz="2400" b="1" i="0" u="none" strike="noStrike" kern="1200" cap="none" spc="150" normalizeH="0" baseline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8" y="379619"/>
            <a:ext cx="1584000" cy="206162"/>
          </a:xfrm>
          <a:prstGeom prst="rect">
            <a:avLst/>
          </a:prstGeom>
        </p:spPr>
      </p:pic>
      <p:sp>
        <p:nvSpPr>
          <p:cNvPr id="8" name="内容占位符 2"/>
          <p:cNvSpPr>
            <a:spLocks noGrp="1"/>
          </p:cNvSpPr>
          <p:nvPr>
            <p:ph idx="1"/>
          </p:nvPr>
        </p:nvSpPr>
        <p:spPr>
          <a:xfrm>
            <a:off x="478644" y="1124744"/>
            <a:ext cx="11090676" cy="532844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4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15" name="矩形 14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正文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478654" y="0"/>
            <a:ext cx="162000" cy="847166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80349" y="242048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904240" y="309516"/>
            <a:ext cx="8648594" cy="3838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kumimoji="0" lang="zh-CN" altLang="en-US" sz="2400" b="1" i="0" u="none" strike="noStrike" kern="1200" cap="none" spc="150" normalizeH="0" baseline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8" y="379619"/>
            <a:ext cx="1584000" cy="206162"/>
          </a:xfrm>
          <a:prstGeom prst="rect">
            <a:avLst/>
          </a:prstGeom>
        </p:spPr>
      </p:pic>
      <p:sp>
        <p:nvSpPr>
          <p:cNvPr id="17" name="内容占位符 2"/>
          <p:cNvSpPr>
            <a:spLocks noGrp="1"/>
          </p:cNvSpPr>
          <p:nvPr>
            <p:ph idx="1"/>
          </p:nvPr>
        </p:nvSpPr>
        <p:spPr>
          <a:xfrm>
            <a:off x="478644" y="1124744"/>
            <a:ext cx="9074189" cy="532844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4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cxnSp>
        <p:nvCxnSpPr>
          <p:cNvPr id="18" name="直接连接符 17"/>
          <p:cNvCxnSpPr/>
          <p:nvPr userDrawn="1"/>
        </p:nvCxnSpPr>
        <p:spPr>
          <a:xfrm>
            <a:off x="9913889" y="1125278"/>
            <a:ext cx="0" cy="5327358"/>
          </a:xfrm>
          <a:prstGeom prst="line">
            <a:avLst/>
          </a:prstGeom>
          <a:ln>
            <a:solidFill>
              <a:srgbClr val="71717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矩形 14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微软雅黑" panose="020B0503020204020204" pitchFamily="34" charset="-122"/>
              </a:defRPr>
            </a:lvl1pPr>
          </a:lstStyle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A82B250-D546-49E2-B77B-68BB642F927D}" type="datetimeFigureOut">
              <a:rPr kumimoji="0" lang="zh-CN" altLang="en-US" sz="2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0/4/26</a:t>
            </a:fld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海康威视</a:t>
            </a:r>
            <a:r>
              <a:rPr kumimoji="0" lang="en-US" altLang="zh-CN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|</a:t>
            </a:r>
            <a:r>
              <a:rPr kumimoji="0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楼宇事业部</a:t>
            </a:r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微软雅黑" panose="020B0503020204020204" pitchFamily="34" charset="-122"/>
              </a:defRPr>
            </a:lvl1pPr>
          </a:lstStyle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99D9E2F-6B03-4D3F-8B1E-580C45D1A597}" type="slidenum">
              <a:rPr kumimoji="0" lang="zh-CN" altLang="en-US" sz="2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‹#›</a:t>
            </a:fld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607325" y="3"/>
            <a:ext cx="162000" cy="847167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1" tIns="45685" rIns="91371" bIns="4568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809026" y="242051"/>
            <a:ext cx="161367" cy="605119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1" tIns="45685" rIns="91371" bIns="4568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8" y="379622"/>
            <a:ext cx="1584000" cy="206163"/>
          </a:xfrm>
          <a:prstGeom prst="rect">
            <a:avLst/>
          </a:prstGeom>
        </p:spPr>
      </p:pic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1010097" y="274453"/>
            <a:ext cx="8846574" cy="540314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5" name="矩形 14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2" descr="F:\2016巡展PPT\2016巡展ppt零件4-3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0"/>
            <a:ext cx="1219667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F:\1PPT制作\新建文件夹\警察\ditu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167" y="452976"/>
            <a:ext cx="5562600" cy="2978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4" name="组合 57"/>
          <p:cNvGrpSpPr/>
          <p:nvPr userDrawn="1"/>
        </p:nvGrpSpPr>
        <p:grpSpPr>
          <a:xfrm>
            <a:off x="-23854" y="4365104"/>
            <a:ext cx="12215854" cy="2154725"/>
            <a:chOff x="-23854" y="3500438"/>
            <a:chExt cx="9191708" cy="2154725"/>
          </a:xfrm>
        </p:grpSpPr>
        <p:grpSp>
          <p:nvGrpSpPr>
            <p:cNvPr id="35" name="组合 29"/>
            <p:cNvGrpSpPr/>
            <p:nvPr/>
          </p:nvGrpSpPr>
          <p:grpSpPr>
            <a:xfrm>
              <a:off x="-23854" y="3500438"/>
              <a:ext cx="9191708" cy="2154725"/>
              <a:chOff x="0" y="3960891"/>
              <a:chExt cx="9191708" cy="2154725"/>
            </a:xfrm>
          </p:grpSpPr>
          <p:grpSp>
            <p:nvGrpSpPr>
              <p:cNvPr id="38" name="组合 36"/>
              <p:cNvGrpSpPr/>
              <p:nvPr/>
            </p:nvGrpSpPr>
            <p:grpSpPr>
              <a:xfrm>
                <a:off x="0" y="3960891"/>
                <a:ext cx="8433303" cy="2154725"/>
                <a:chOff x="0" y="3960891"/>
                <a:chExt cx="8433303" cy="2154725"/>
              </a:xfrm>
            </p:grpSpPr>
            <p:sp>
              <p:nvSpPr>
                <p:cNvPr id="40" name="任意多边形 39"/>
                <p:cNvSpPr/>
                <p:nvPr/>
              </p:nvSpPr>
              <p:spPr>
                <a:xfrm>
                  <a:off x="0" y="4997513"/>
                  <a:ext cx="1760899" cy="1118103"/>
                </a:xfrm>
                <a:custGeom>
                  <a:avLst/>
                  <a:gdLst>
                    <a:gd name="connsiteX0" fmla="*/ 0 w 1760899"/>
                    <a:gd name="connsiteY0" fmla="*/ 1118103 h 1118103"/>
                    <a:gd name="connsiteX1" fmla="*/ 565842 w 1760899"/>
                    <a:gd name="connsiteY1" fmla="*/ 1081889 h 1118103"/>
                    <a:gd name="connsiteX2" fmla="*/ 832919 w 1760899"/>
                    <a:gd name="connsiteY2" fmla="*/ 1072836 h 1118103"/>
                    <a:gd name="connsiteX3" fmla="*/ 832919 w 1760899"/>
                    <a:gd name="connsiteY3" fmla="*/ 1072836 h 1118103"/>
                    <a:gd name="connsiteX4" fmla="*/ 841972 w 1760899"/>
                    <a:gd name="connsiteY4" fmla="*/ 248970 h 1118103"/>
                    <a:gd name="connsiteX5" fmla="*/ 841972 w 1760899"/>
                    <a:gd name="connsiteY5" fmla="*/ 248970 h 1118103"/>
                    <a:gd name="connsiteX6" fmla="*/ 1041149 w 1760899"/>
                    <a:gd name="connsiteY6" fmla="*/ 244443 h 1118103"/>
                    <a:gd name="connsiteX7" fmla="*/ 1041149 w 1760899"/>
                    <a:gd name="connsiteY7" fmla="*/ 244443 h 1118103"/>
                    <a:gd name="connsiteX8" fmla="*/ 1045675 w 1760899"/>
                    <a:gd name="connsiteY8" fmla="*/ 1045675 h 1118103"/>
                    <a:gd name="connsiteX9" fmla="*/ 1045675 w 1760899"/>
                    <a:gd name="connsiteY9" fmla="*/ 1045675 h 1118103"/>
                    <a:gd name="connsiteX10" fmla="*/ 1312752 w 1760899"/>
                    <a:gd name="connsiteY10" fmla="*/ 1050202 h 1118103"/>
                    <a:gd name="connsiteX11" fmla="*/ 1312752 w 1760899"/>
                    <a:gd name="connsiteY11" fmla="*/ 1050202 h 1118103"/>
                    <a:gd name="connsiteX12" fmla="*/ 1317279 w 1760899"/>
                    <a:gd name="connsiteY12" fmla="*/ 4527 h 1118103"/>
                    <a:gd name="connsiteX13" fmla="*/ 1317279 w 1760899"/>
                    <a:gd name="connsiteY13" fmla="*/ 4527 h 1118103"/>
                    <a:gd name="connsiteX14" fmla="*/ 1552669 w 1760899"/>
                    <a:gd name="connsiteY14" fmla="*/ 0 h 1118103"/>
                    <a:gd name="connsiteX15" fmla="*/ 1552669 w 1760899"/>
                    <a:gd name="connsiteY15" fmla="*/ 0 h 1118103"/>
                    <a:gd name="connsiteX16" fmla="*/ 1557196 w 1760899"/>
                    <a:gd name="connsiteY16" fmla="*/ 140329 h 1118103"/>
                    <a:gd name="connsiteX17" fmla="*/ 1557196 w 1760899"/>
                    <a:gd name="connsiteY17" fmla="*/ 140329 h 1118103"/>
                    <a:gd name="connsiteX18" fmla="*/ 1611517 w 1760899"/>
                    <a:gd name="connsiteY18" fmla="*/ 203703 h 1118103"/>
                    <a:gd name="connsiteX19" fmla="*/ 1611517 w 1760899"/>
                    <a:gd name="connsiteY19" fmla="*/ 203703 h 1118103"/>
                    <a:gd name="connsiteX20" fmla="*/ 1611517 w 1760899"/>
                    <a:gd name="connsiteY20" fmla="*/ 855552 h 1118103"/>
                    <a:gd name="connsiteX21" fmla="*/ 1611517 w 1760899"/>
                    <a:gd name="connsiteY21" fmla="*/ 855552 h 1118103"/>
                    <a:gd name="connsiteX22" fmla="*/ 1760899 w 1760899"/>
                    <a:gd name="connsiteY22" fmla="*/ 855552 h 11181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760899" h="1118103">
                      <a:moveTo>
                        <a:pt x="0" y="1118103"/>
                      </a:moveTo>
                      <a:lnTo>
                        <a:pt x="565842" y="1081889"/>
                      </a:lnTo>
                      <a:cubicBezTo>
                        <a:pt x="704662" y="1074344"/>
                        <a:pt x="832919" y="1072836"/>
                        <a:pt x="832919" y="1072836"/>
                      </a:cubicBezTo>
                      <a:lnTo>
                        <a:pt x="832919" y="1072836"/>
                      </a:lnTo>
                      <a:cubicBezTo>
                        <a:pt x="834428" y="935525"/>
                        <a:pt x="841972" y="248970"/>
                        <a:pt x="841972" y="248970"/>
                      </a:cubicBezTo>
                      <a:lnTo>
                        <a:pt x="841972" y="248970"/>
                      </a:lnTo>
                      <a:lnTo>
                        <a:pt x="1041149" y="244443"/>
                      </a:lnTo>
                      <a:lnTo>
                        <a:pt x="1041149" y="244443"/>
                      </a:lnTo>
                      <a:cubicBezTo>
                        <a:pt x="1041903" y="377982"/>
                        <a:pt x="1045675" y="1045675"/>
                        <a:pt x="1045675" y="1045675"/>
                      </a:cubicBezTo>
                      <a:lnTo>
                        <a:pt x="1045675" y="1045675"/>
                      </a:lnTo>
                      <a:lnTo>
                        <a:pt x="1312752" y="1050202"/>
                      </a:lnTo>
                      <a:lnTo>
                        <a:pt x="1312752" y="1050202"/>
                      </a:lnTo>
                      <a:cubicBezTo>
                        <a:pt x="1313507" y="875923"/>
                        <a:pt x="1317279" y="4527"/>
                        <a:pt x="1317279" y="4527"/>
                      </a:cubicBezTo>
                      <a:lnTo>
                        <a:pt x="1317279" y="4527"/>
                      </a:lnTo>
                      <a:lnTo>
                        <a:pt x="1552669" y="0"/>
                      </a:lnTo>
                      <a:lnTo>
                        <a:pt x="1552669" y="0"/>
                      </a:lnTo>
                      <a:cubicBezTo>
                        <a:pt x="1553423" y="23388"/>
                        <a:pt x="1557196" y="140329"/>
                        <a:pt x="1557196" y="140329"/>
                      </a:cubicBezTo>
                      <a:lnTo>
                        <a:pt x="1557196" y="140329"/>
                      </a:lnTo>
                      <a:lnTo>
                        <a:pt x="1611517" y="203703"/>
                      </a:lnTo>
                      <a:lnTo>
                        <a:pt x="1611517" y="203703"/>
                      </a:lnTo>
                      <a:lnTo>
                        <a:pt x="1611517" y="855552"/>
                      </a:lnTo>
                      <a:lnTo>
                        <a:pt x="1611517" y="855552"/>
                      </a:lnTo>
                      <a:lnTo>
                        <a:pt x="1760899" y="855552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1" name="任意多边形 40"/>
                <p:cNvSpPr/>
                <p:nvPr/>
              </p:nvSpPr>
              <p:spPr>
                <a:xfrm>
                  <a:off x="1756372" y="5531667"/>
                  <a:ext cx="710697" cy="443620"/>
                </a:xfrm>
                <a:custGeom>
                  <a:avLst/>
                  <a:gdLst>
                    <a:gd name="connsiteX0" fmla="*/ 0 w 710697"/>
                    <a:gd name="connsiteY0" fmla="*/ 325925 h 443620"/>
                    <a:gd name="connsiteX1" fmla="*/ 0 w 710697"/>
                    <a:gd name="connsiteY1" fmla="*/ 194650 h 443620"/>
                    <a:gd name="connsiteX2" fmla="*/ 0 w 710697"/>
                    <a:gd name="connsiteY2" fmla="*/ 194650 h 443620"/>
                    <a:gd name="connsiteX3" fmla="*/ 95062 w 710697"/>
                    <a:gd name="connsiteY3" fmla="*/ 185596 h 443620"/>
                    <a:gd name="connsiteX4" fmla="*/ 95062 w 710697"/>
                    <a:gd name="connsiteY4" fmla="*/ 185596 h 443620"/>
                    <a:gd name="connsiteX5" fmla="*/ 95062 w 710697"/>
                    <a:gd name="connsiteY5" fmla="*/ 95062 h 443620"/>
                    <a:gd name="connsiteX6" fmla="*/ 95062 w 710697"/>
                    <a:gd name="connsiteY6" fmla="*/ 95062 h 443620"/>
                    <a:gd name="connsiteX7" fmla="*/ 271604 w 710697"/>
                    <a:gd name="connsiteY7" fmla="*/ 86008 h 443620"/>
                    <a:gd name="connsiteX8" fmla="*/ 271604 w 710697"/>
                    <a:gd name="connsiteY8" fmla="*/ 86008 h 443620"/>
                    <a:gd name="connsiteX9" fmla="*/ 276131 w 710697"/>
                    <a:gd name="connsiteY9" fmla="*/ 40741 h 443620"/>
                    <a:gd name="connsiteX10" fmla="*/ 276131 w 710697"/>
                    <a:gd name="connsiteY10" fmla="*/ 40741 h 443620"/>
                    <a:gd name="connsiteX11" fmla="*/ 312345 w 710697"/>
                    <a:gd name="connsiteY11" fmla="*/ 0 h 443620"/>
                    <a:gd name="connsiteX12" fmla="*/ 312345 w 710697"/>
                    <a:gd name="connsiteY12" fmla="*/ 0 h 443620"/>
                    <a:gd name="connsiteX13" fmla="*/ 339505 w 710697"/>
                    <a:gd name="connsiteY13" fmla="*/ 36214 h 443620"/>
                    <a:gd name="connsiteX14" fmla="*/ 339505 w 710697"/>
                    <a:gd name="connsiteY14" fmla="*/ 36214 h 443620"/>
                    <a:gd name="connsiteX15" fmla="*/ 334978 w 710697"/>
                    <a:gd name="connsiteY15" fmla="*/ 86008 h 443620"/>
                    <a:gd name="connsiteX16" fmla="*/ 334978 w 710697"/>
                    <a:gd name="connsiteY16" fmla="*/ 86008 h 443620"/>
                    <a:gd name="connsiteX17" fmla="*/ 493414 w 710697"/>
                    <a:gd name="connsiteY17" fmla="*/ 172016 h 443620"/>
                    <a:gd name="connsiteX18" fmla="*/ 493414 w 710697"/>
                    <a:gd name="connsiteY18" fmla="*/ 172016 h 443620"/>
                    <a:gd name="connsiteX19" fmla="*/ 502468 w 710697"/>
                    <a:gd name="connsiteY19" fmla="*/ 443620 h 443620"/>
                    <a:gd name="connsiteX20" fmla="*/ 502468 w 710697"/>
                    <a:gd name="connsiteY20" fmla="*/ 443620 h 443620"/>
                    <a:gd name="connsiteX21" fmla="*/ 620163 w 710697"/>
                    <a:gd name="connsiteY21" fmla="*/ 443620 h 443620"/>
                    <a:gd name="connsiteX22" fmla="*/ 620163 w 710697"/>
                    <a:gd name="connsiteY22" fmla="*/ 443620 h 443620"/>
                    <a:gd name="connsiteX23" fmla="*/ 638270 w 710697"/>
                    <a:gd name="connsiteY23" fmla="*/ 416460 h 443620"/>
                    <a:gd name="connsiteX24" fmla="*/ 638270 w 710697"/>
                    <a:gd name="connsiteY24" fmla="*/ 416460 h 443620"/>
                    <a:gd name="connsiteX25" fmla="*/ 710697 w 710697"/>
                    <a:gd name="connsiteY25" fmla="*/ 416460 h 4436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710697" h="443620">
                      <a:moveTo>
                        <a:pt x="0" y="325925"/>
                      </a:moveTo>
                      <a:lnTo>
                        <a:pt x="0" y="194650"/>
                      </a:lnTo>
                      <a:lnTo>
                        <a:pt x="0" y="194650"/>
                      </a:lnTo>
                      <a:lnTo>
                        <a:pt x="95062" y="185596"/>
                      </a:lnTo>
                      <a:lnTo>
                        <a:pt x="95062" y="185596"/>
                      </a:lnTo>
                      <a:lnTo>
                        <a:pt x="95062" y="95062"/>
                      </a:lnTo>
                      <a:lnTo>
                        <a:pt x="95062" y="95062"/>
                      </a:lnTo>
                      <a:lnTo>
                        <a:pt x="271604" y="86008"/>
                      </a:lnTo>
                      <a:lnTo>
                        <a:pt x="271604" y="86008"/>
                      </a:lnTo>
                      <a:lnTo>
                        <a:pt x="276131" y="40741"/>
                      </a:lnTo>
                      <a:lnTo>
                        <a:pt x="276131" y="40741"/>
                      </a:lnTo>
                      <a:lnTo>
                        <a:pt x="312345" y="0"/>
                      </a:lnTo>
                      <a:lnTo>
                        <a:pt x="312345" y="0"/>
                      </a:lnTo>
                      <a:lnTo>
                        <a:pt x="339505" y="36214"/>
                      </a:lnTo>
                      <a:lnTo>
                        <a:pt x="339505" y="36214"/>
                      </a:lnTo>
                      <a:lnTo>
                        <a:pt x="334978" y="86008"/>
                      </a:lnTo>
                      <a:lnTo>
                        <a:pt x="334978" y="86008"/>
                      </a:lnTo>
                      <a:lnTo>
                        <a:pt x="493414" y="172016"/>
                      </a:lnTo>
                      <a:lnTo>
                        <a:pt x="493414" y="172016"/>
                      </a:lnTo>
                      <a:lnTo>
                        <a:pt x="502468" y="443620"/>
                      </a:lnTo>
                      <a:lnTo>
                        <a:pt x="502468" y="443620"/>
                      </a:lnTo>
                      <a:lnTo>
                        <a:pt x="620163" y="443620"/>
                      </a:lnTo>
                      <a:lnTo>
                        <a:pt x="620163" y="443620"/>
                      </a:lnTo>
                      <a:lnTo>
                        <a:pt x="638270" y="416460"/>
                      </a:lnTo>
                      <a:lnTo>
                        <a:pt x="638270" y="416460"/>
                      </a:lnTo>
                      <a:lnTo>
                        <a:pt x="710697" y="416460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2" name="任意多边形 41"/>
                <p:cNvSpPr/>
                <p:nvPr/>
              </p:nvSpPr>
              <p:spPr>
                <a:xfrm>
                  <a:off x="2462543" y="5472820"/>
                  <a:ext cx="439093" cy="574895"/>
                </a:xfrm>
                <a:custGeom>
                  <a:avLst/>
                  <a:gdLst>
                    <a:gd name="connsiteX0" fmla="*/ 0 w 439093"/>
                    <a:gd name="connsiteY0" fmla="*/ 479833 h 574895"/>
                    <a:gd name="connsiteX1" fmla="*/ 4526 w 439093"/>
                    <a:gd name="connsiteY1" fmla="*/ 353085 h 574895"/>
                    <a:gd name="connsiteX2" fmla="*/ 4526 w 439093"/>
                    <a:gd name="connsiteY2" fmla="*/ 353085 h 574895"/>
                    <a:gd name="connsiteX3" fmla="*/ 31687 w 439093"/>
                    <a:gd name="connsiteY3" fmla="*/ 330451 h 574895"/>
                    <a:gd name="connsiteX4" fmla="*/ 31687 w 439093"/>
                    <a:gd name="connsiteY4" fmla="*/ 330451 h 574895"/>
                    <a:gd name="connsiteX5" fmla="*/ 36213 w 439093"/>
                    <a:gd name="connsiteY5" fmla="*/ 54321 h 574895"/>
                    <a:gd name="connsiteX6" fmla="*/ 36213 w 439093"/>
                    <a:gd name="connsiteY6" fmla="*/ 54321 h 574895"/>
                    <a:gd name="connsiteX7" fmla="*/ 95061 w 439093"/>
                    <a:gd name="connsiteY7" fmla="*/ 0 h 574895"/>
                    <a:gd name="connsiteX8" fmla="*/ 95061 w 439093"/>
                    <a:gd name="connsiteY8" fmla="*/ 0 h 574895"/>
                    <a:gd name="connsiteX9" fmla="*/ 181069 w 439093"/>
                    <a:gd name="connsiteY9" fmla="*/ 95061 h 574895"/>
                    <a:gd name="connsiteX10" fmla="*/ 181069 w 439093"/>
                    <a:gd name="connsiteY10" fmla="*/ 95061 h 574895"/>
                    <a:gd name="connsiteX11" fmla="*/ 181069 w 439093"/>
                    <a:gd name="connsiteY11" fmla="*/ 502467 h 574895"/>
                    <a:gd name="connsiteX12" fmla="*/ 181069 w 439093"/>
                    <a:gd name="connsiteY12" fmla="*/ 502467 h 574895"/>
                    <a:gd name="connsiteX13" fmla="*/ 271604 w 439093"/>
                    <a:gd name="connsiteY13" fmla="*/ 502467 h 574895"/>
                    <a:gd name="connsiteX14" fmla="*/ 271604 w 439093"/>
                    <a:gd name="connsiteY14" fmla="*/ 502467 h 574895"/>
                    <a:gd name="connsiteX15" fmla="*/ 271604 w 439093"/>
                    <a:gd name="connsiteY15" fmla="*/ 552261 h 574895"/>
                    <a:gd name="connsiteX16" fmla="*/ 271604 w 439093"/>
                    <a:gd name="connsiteY16" fmla="*/ 552261 h 574895"/>
                    <a:gd name="connsiteX17" fmla="*/ 348558 w 439093"/>
                    <a:gd name="connsiteY17" fmla="*/ 552261 h 574895"/>
                    <a:gd name="connsiteX18" fmla="*/ 348558 w 439093"/>
                    <a:gd name="connsiteY18" fmla="*/ 552261 h 574895"/>
                    <a:gd name="connsiteX19" fmla="*/ 348558 w 439093"/>
                    <a:gd name="connsiteY19" fmla="*/ 407406 h 574895"/>
                    <a:gd name="connsiteX20" fmla="*/ 348558 w 439093"/>
                    <a:gd name="connsiteY20" fmla="*/ 407406 h 574895"/>
                    <a:gd name="connsiteX21" fmla="*/ 430039 w 439093"/>
                    <a:gd name="connsiteY21" fmla="*/ 407406 h 574895"/>
                    <a:gd name="connsiteX22" fmla="*/ 430039 w 439093"/>
                    <a:gd name="connsiteY22" fmla="*/ 407406 h 574895"/>
                    <a:gd name="connsiteX23" fmla="*/ 439093 w 439093"/>
                    <a:gd name="connsiteY23" fmla="*/ 574895 h 574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39093" h="574895">
                      <a:moveTo>
                        <a:pt x="0" y="479833"/>
                      </a:moveTo>
                      <a:lnTo>
                        <a:pt x="4526" y="353085"/>
                      </a:lnTo>
                      <a:lnTo>
                        <a:pt x="4526" y="353085"/>
                      </a:lnTo>
                      <a:lnTo>
                        <a:pt x="31687" y="330451"/>
                      </a:lnTo>
                      <a:lnTo>
                        <a:pt x="31687" y="330451"/>
                      </a:lnTo>
                      <a:cubicBezTo>
                        <a:pt x="32441" y="284429"/>
                        <a:pt x="36213" y="54321"/>
                        <a:pt x="36213" y="54321"/>
                      </a:cubicBezTo>
                      <a:lnTo>
                        <a:pt x="36213" y="54321"/>
                      </a:lnTo>
                      <a:lnTo>
                        <a:pt x="95061" y="0"/>
                      </a:lnTo>
                      <a:lnTo>
                        <a:pt x="95061" y="0"/>
                      </a:lnTo>
                      <a:lnTo>
                        <a:pt x="181069" y="95061"/>
                      </a:lnTo>
                      <a:lnTo>
                        <a:pt x="181069" y="95061"/>
                      </a:lnTo>
                      <a:lnTo>
                        <a:pt x="181069" y="502467"/>
                      </a:lnTo>
                      <a:lnTo>
                        <a:pt x="181069" y="502467"/>
                      </a:lnTo>
                      <a:lnTo>
                        <a:pt x="271604" y="502467"/>
                      </a:lnTo>
                      <a:lnTo>
                        <a:pt x="271604" y="502467"/>
                      </a:lnTo>
                      <a:lnTo>
                        <a:pt x="271604" y="552261"/>
                      </a:lnTo>
                      <a:lnTo>
                        <a:pt x="271604" y="552261"/>
                      </a:lnTo>
                      <a:lnTo>
                        <a:pt x="348558" y="552261"/>
                      </a:lnTo>
                      <a:lnTo>
                        <a:pt x="348558" y="552261"/>
                      </a:lnTo>
                      <a:lnTo>
                        <a:pt x="348558" y="407406"/>
                      </a:lnTo>
                      <a:lnTo>
                        <a:pt x="348558" y="407406"/>
                      </a:lnTo>
                      <a:lnTo>
                        <a:pt x="430039" y="407406"/>
                      </a:lnTo>
                      <a:lnTo>
                        <a:pt x="430039" y="407406"/>
                      </a:lnTo>
                      <a:lnTo>
                        <a:pt x="439093" y="574895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3" name="任意多边形 42"/>
                <p:cNvSpPr/>
                <p:nvPr/>
              </p:nvSpPr>
              <p:spPr>
                <a:xfrm>
                  <a:off x="1430448" y="4866238"/>
                  <a:ext cx="0" cy="131275"/>
                </a:xfrm>
                <a:custGeom>
                  <a:avLst/>
                  <a:gdLst>
                    <a:gd name="connsiteX0" fmla="*/ 0 w 0"/>
                    <a:gd name="connsiteY0" fmla="*/ 131275 h 131275"/>
                    <a:gd name="connsiteX1" fmla="*/ 0 w 0"/>
                    <a:gd name="connsiteY1" fmla="*/ 0 h 131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131275">
                      <a:moveTo>
                        <a:pt x="0" y="13127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4" name="任意多边形 43"/>
                <p:cNvSpPr/>
                <p:nvPr/>
              </p:nvSpPr>
              <p:spPr>
                <a:xfrm>
                  <a:off x="2897109" y="3965418"/>
                  <a:ext cx="918927" cy="2082297"/>
                </a:xfrm>
                <a:custGeom>
                  <a:avLst/>
                  <a:gdLst>
                    <a:gd name="connsiteX0" fmla="*/ 0 w 918927"/>
                    <a:gd name="connsiteY0" fmla="*/ 2082297 h 2082297"/>
                    <a:gd name="connsiteX1" fmla="*/ 67901 w 918927"/>
                    <a:gd name="connsiteY1" fmla="*/ 1937441 h 2082297"/>
                    <a:gd name="connsiteX2" fmla="*/ 67901 w 918927"/>
                    <a:gd name="connsiteY2" fmla="*/ 1937441 h 2082297"/>
                    <a:gd name="connsiteX3" fmla="*/ 9053 w 918927"/>
                    <a:gd name="connsiteY3" fmla="*/ 1855960 h 2082297"/>
                    <a:gd name="connsiteX4" fmla="*/ 13580 w 918927"/>
                    <a:gd name="connsiteY4" fmla="*/ 1783532 h 2082297"/>
                    <a:gd name="connsiteX5" fmla="*/ 40741 w 918927"/>
                    <a:gd name="connsiteY5" fmla="*/ 1729212 h 2082297"/>
                    <a:gd name="connsiteX6" fmla="*/ 104115 w 918927"/>
                    <a:gd name="connsiteY6" fmla="*/ 1683944 h 2082297"/>
                    <a:gd name="connsiteX7" fmla="*/ 104115 w 918927"/>
                    <a:gd name="connsiteY7" fmla="*/ 1683944 h 2082297"/>
                    <a:gd name="connsiteX8" fmla="*/ 108641 w 918927"/>
                    <a:gd name="connsiteY8" fmla="*/ 1041148 h 2082297"/>
                    <a:gd name="connsiteX9" fmla="*/ 108641 w 918927"/>
                    <a:gd name="connsiteY9" fmla="*/ 1041148 h 2082297"/>
                    <a:gd name="connsiteX10" fmla="*/ 54321 w 918927"/>
                    <a:gd name="connsiteY10" fmla="*/ 986828 h 2082297"/>
                    <a:gd name="connsiteX11" fmla="*/ 49794 w 918927"/>
                    <a:gd name="connsiteY11" fmla="*/ 914400 h 2082297"/>
                    <a:gd name="connsiteX12" fmla="*/ 76954 w 918927"/>
                    <a:gd name="connsiteY12" fmla="*/ 860079 h 2082297"/>
                    <a:gd name="connsiteX13" fmla="*/ 135802 w 918927"/>
                    <a:gd name="connsiteY13" fmla="*/ 823865 h 2082297"/>
                    <a:gd name="connsiteX14" fmla="*/ 135802 w 918927"/>
                    <a:gd name="connsiteY14" fmla="*/ 823865 h 2082297"/>
                    <a:gd name="connsiteX15" fmla="*/ 140329 w 918927"/>
                    <a:gd name="connsiteY15" fmla="*/ 647323 h 2082297"/>
                    <a:gd name="connsiteX16" fmla="*/ 140329 w 918927"/>
                    <a:gd name="connsiteY16" fmla="*/ 647323 h 2082297"/>
                    <a:gd name="connsiteX17" fmla="*/ 117695 w 918927"/>
                    <a:gd name="connsiteY17" fmla="*/ 615635 h 2082297"/>
                    <a:gd name="connsiteX18" fmla="*/ 122222 w 918927"/>
                    <a:gd name="connsiteY18" fmla="*/ 579422 h 2082297"/>
                    <a:gd name="connsiteX19" fmla="*/ 149382 w 918927"/>
                    <a:gd name="connsiteY19" fmla="*/ 547734 h 2082297"/>
                    <a:gd name="connsiteX20" fmla="*/ 149382 w 918927"/>
                    <a:gd name="connsiteY20" fmla="*/ 547734 h 2082297"/>
                    <a:gd name="connsiteX21" fmla="*/ 144855 w 918927"/>
                    <a:gd name="connsiteY21" fmla="*/ 27160 h 2082297"/>
                    <a:gd name="connsiteX22" fmla="*/ 144855 w 918927"/>
                    <a:gd name="connsiteY22" fmla="*/ 27160 h 2082297"/>
                    <a:gd name="connsiteX23" fmla="*/ 153909 w 918927"/>
                    <a:gd name="connsiteY23" fmla="*/ 9053 h 2082297"/>
                    <a:gd name="connsiteX24" fmla="*/ 167489 w 918927"/>
                    <a:gd name="connsiteY24" fmla="*/ 0 h 2082297"/>
                    <a:gd name="connsiteX25" fmla="*/ 185596 w 918927"/>
                    <a:gd name="connsiteY25" fmla="*/ 9053 h 2082297"/>
                    <a:gd name="connsiteX26" fmla="*/ 190123 w 918927"/>
                    <a:gd name="connsiteY26" fmla="*/ 13580 h 2082297"/>
                    <a:gd name="connsiteX27" fmla="*/ 190123 w 918927"/>
                    <a:gd name="connsiteY27" fmla="*/ 13580 h 2082297"/>
                    <a:gd name="connsiteX28" fmla="*/ 190123 w 918927"/>
                    <a:gd name="connsiteY28" fmla="*/ 552261 h 2082297"/>
                    <a:gd name="connsiteX29" fmla="*/ 190123 w 918927"/>
                    <a:gd name="connsiteY29" fmla="*/ 552261 h 2082297"/>
                    <a:gd name="connsiteX30" fmla="*/ 221810 w 918927"/>
                    <a:gd name="connsiteY30" fmla="*/ 579422 h 2082297"/>
                    <a:gd name="connsiteX31" fmla="*/ 226337 w 918927"/>
                    <a:gd name="connsiteY31" fmla="*/ 615635 h 2082297"/>
                    <a:gd name="connsiteX32" fmla="*/ 194649 w 918927"/>
                    <a:gd name="connsiteY32" fmla="*/ 651849 h 2082297"/>
                    <a:gd name="connsiteX33" fmla="*/ 194649 w 918927"/>
                    <a:gd name="connsiteY33" fmla="*/ 651849 h 2082297"/>
                    <a:gd name="connsiteX34" fmla="*/ 194649 w 918927"/>
                    <a:gd name="connsiteY34" fmla="*/ 823865 h 2082297"/>
                    <a:gd name="connsiteX35" fmla="*/ 194649 w 918927"/>
                    <a:gd name="connsiteY35" fmla="*/ 823865 h 2082297"/>
                    <a:gd name="connsiteX36" fmla="*/ 267077 w 918927"/>
                    <a:gd name="connsiteY36" fmla="*/ 860079 h 2082297"/>
                    <a:gd name="connsiteX37" fmla="*/ 294238 w 918927"/>
                    <a:gd name="connsiteY37" fmla="*/ 941560 h 2082297"/>
                    <a:gd name="connsiteX38" fmla="*/ 280657 w 918927"/>
                    <a:gd name="connsiteY38" fmla="*/ 991354 h 2082297"/>
                    <a:gd name="connsiteX39" fmla="*/ 239917 w 918927"/>
                    <a:gd name="connsiteY39" fmla="*/ 1041148 h 2082297"/>
                    <a:gd name="connsiteX40" fmla="*/ 230863 w 918927"/>
                    <a:gd name="connsiteY40" fmla="*/ 1054729 h 2082297"/>
                    <a:gd name="connsiteX41" fmla="*/ 230863 w 918927"/>
                    <a:gd name="connsiteY41" fmla="*/ 1054729 h 2082297"/>
                    <a:gd name="connsiteX42" fmla="*/ 230863 w 918927"/>
                    <a:gd name="connsiteY42" fmla="*/ 1683944 h 2082297"/>
                    <a:gd name="connsiteX43" fmla="*/ 230863 w 918927"/>
                    <a:gd name="connsiteY43" fmla="*/ 1683944 h 2082297"/>
                    <a:gd name="connsiteX44" fmla="*/ 298764 w 918927"/>
                    <a:gd name="connsiteY44" fmla="*/ 1738265 h 2082297"/>
                    <a:gd name="connsiteX45" fmla="*/ 321398 w 918927"/>
                    <a:gd name="connsiteY45" fmla="*/ 1837853 h 2082297"/>
                    <a:gd name="connsiteX46" fmla="*/ 298764 w 918927"/>
                    <a:gd name="connsiteY46" fmla="*/ 1896701 h 2082297"/>
                    <a:gd name="connsiteX47" fmla="*/ 258024 w 918927"/>
                    <a:gd name="connsiteY47" fmla="*/ 1941968 h 2082297"/>
                    <a:gd name="connsiteX48" fmla="*/ 258024 w 918927"/>
                    <a:gd name="connsiteY48" fmla="*/ 1941968 h 2082297"/>
                    <a:gd name="connsiteX49" fmla="*/ 307818 w 918927"/>
                    <a:gd name="connsiteY49" fmla="*/ 2032503 h 2082297"/>
                    <a:gd name="connsiteX50" fmla="*/ 307818 w 918927"/>
                    <a:gd name="connsiteY50" fmla="*/ 2032503 h 2082297"/>
                    <a:gd name="connsiteX51" fmla="*/ 407406 w 918927"/>
                    <a:gd name="connsiteY51" fmla="*/ 2032503 h 2082297"/>
                    <a:gd name="connsiteX52" fmla="*/ 407406 w 918927"/>
                    <a:gd name="connsiteY52" fmla="*/ 2032503 h 2082297"/>
                    <a:gd name="connsiteX53" fmla="*/ 443620 w 918927"/>
                    <a:gd name="connsiteY53" fmla="*/ 1987235 h 2082297"/>
                    <a:gd name="connsiteX54" fmla="*/ 443620 w 918927"/>
                    <a:gd name="connsiteY54" fmla="*/ 1987235 h 2082297"/>
                    <a:gd name="connsiteX55" fmla="*/ 547735 w 918927"/>
                    <a:gd name="connsiteY55" fmla="*/ 1982709 h 2082297"/>
                    <a:gd name="connsiteX56" fmla="*/ 547735 w 918927"/>
                    <a:gd name="connsiteY56" fmla="*/ 1982709 h 2082297"/>
                    <a:gd name="connsiteX57" fmla="*/ 543208 w 918927"/>
                    <a:gd name="connsiteY57" fmla="*/ 1566249 h 2082297"/>
                    <a:gd name="connsiteX58" fmla="*/ 543208 w 918927"/>
                    <a:gd name="connsiteY58" fmla="*/ 1566249 h 2082297"/>
                    <a:gd name="connsiteX59" fmla="*/ 597529 w 918927"/>
                    <a:gd name="connsiteY59" fmla="*/ 1557196 h 2082297"/>
                    <a:gd name="connsiteX60" fmla="*/ 597529 w 918927"/>
                    <a:gd name="connsiteY60" fmla="*/ 1557196 h 2082297"/>
                    <a:gd name="connsiteX61" fmla="*/ 597529 w 918927"/>
                    <a:gd name="connsiteY61" fmla="*/ 1539089 h 2082297"/>
                    <a:gd name="connsiteX62" fmla="*/ 597529 w 918927"/>
                    <a:gd name="connsiteY62" fmla="*/ 1539089 h 2082297"/>
                    <a:gd name="connsiteX63" fmla="*/ 570368 w 918927"/>
                    <a:gd name="connsiteY63" fmla="*/ 1530035 h 2082297"/>
                    <a:gd name="connsiteX64" fmla="*/ 570368 w 918927"/>
                    <a:gd name="connsiteY64" fmla="*/ 1530035 h 2082297"/>
                    <a:gd name="connsiteX65" fmla="*/ 642796 w 918927"/>
                    <a:gd name="connsiteY65" fmla="*/ 1453081 h 2082297"/>
                    <a:gd name="connsiteX66" fmla="*/ 642796 w 918927"/>
                    <a:gd name="connsiteY66" fmla="*/ 1453081 h 2082297"/>
                    <a:gd name="connsiteX67" fmla="*/ 746911 w 918927"/>
                    <a:gd name="connsiteY67" fmla="*/ 1525509 h 2082297"/>
                    <a:gd name="connsiteX68" fmla="*/ 746911 w 918927"/>
                    <a:gd name="connsiteY68" fmla="*/ 1530035 h 2082297"/>
                    <a:gd name="connsiteX69" fmla="*/ 710697 w 918927"/>
                    <a:gd name="connsiteY69" fmla="*/ 1548142 h 2082297"/>
                    <a:gd name="connsiteX70" fmla="*/ 710697 w 918927"/>
                    <a:gd name="connsiteY70" fmla="*/ 1548142 h 2082297"/>
                    <a:gd name="connsiteX71" fmla="*/ 760491 w 918927"/>
                    <a:gd name="connsiteY71" fmla="*/ 1557196 h 2082297"/>
                    <a:gd name="connsiteX72" fmla="*/ 760491 w 918927"/>
                    <a:gd name="connsiteY72" fmla="*/ 1557196 h 2082297"/>
                    <a:gd name="connsiteX73" fmla="*/ 755964 w 918927"/>
                    <a:gd name="connsiteY73" fmla="*/ 1978182 h 2082297"/>
                    <a:gd name="connsiteX74" fmla="*/ 755964 w 918927"/>
                    <a:gd name="connsiteY74" fmla="*/ 1978182 h 2082297"/>
                    <a:gd name="connsiteX75" fmla="*/ 918927 w 918927"/>
                    <a:gd name="connsiteY75" fmla="*/ 1991762 h 2082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918927" h="2082297">
                      <a:moveTo>
                        <a:pt x="0" y="2082297"/>
                      </a:moveTo>
                      <a:lnTo>
                        <a:pt x="67901" y="1937441"/>
                      </a:lnTo>
                      <a:lnTo>
                        <a:pt x="67901" y="1937441"/>
                      </a:lnTo>
                      <a:cubicBezTo>
                        <a:pt x="58093" y="1923861"/>
                        <a:pt x="18107" y="1881611"/>
                        <a:pt x="9053" y="1855960"/>
                      </a:cubicBezTo>
                      <a:cubicBezTo>
                        <a:pt x="-1" y="1830308"/>
                        <a:pt x="8299" y="1804657"/>
                        <a:pt x="13580" y="1783532"/>
                      </a:cubicBezTo>
                      <a:cubicBezTo>
                        <a:pt x="18861" y="1762407"/>
                        <a:pt x="25652" y="1745810"/>
                        <a:pt x="40741" y="1729212"/>
                      </a:cubicBezTo>
                      <a:cubicBezTo>
                        <a:pt x="55830" y="1712614"/>
                        <a:pt x="104115" y="1683944"/>
                        <a:pt x="104115" y="1683944"/>
                      </a:cubicBezTo>
                      <a:lnTo>
                        <a:pt x="104115" y="1683944"/>
                      </a:lnTo>
                      <a:cubicBezTo>
                        <a:pt x="104869" y="1576811"/>
                        <a:pt x="108641" y="1041148"/>
                        <a:pt x="108641" y="1041148"/>
                      </a:cubicBezTo>
                      <a:lnTo>
                        <a:pt x="108641" y="1041148"/>
                      </a:lnTo>
                      <a:cubicBezTo>
                        <a:pt x="99588" y="1032095"/>
                        <a:pt x="64129" y="1007953"/>
                        <a:pt x="54321" y="986828"/>
                      </a:cubicBezTo>
                      <a:cubicBezTo>
                        <a:pt x="44513" y="965703"/>
                        <a:pt x="46022" y="935525"/>
                        <a:pt x="49794" y="914400"/>
                      </a:cubicBezTo>
                      <a:cubicBezTo>
                        <a:pt x="53566" y="893275"/>
                        <a:pt x="62619" y="875168"/>
                        <a:pt x="76954" y="860079"/>
                      </a:cubicBezTo>
                      <a:cubicBezTo>
                        <a:pt x="91289" y="844990"/>
                        <a:pt x="135802" y="823865"/>
                        <a:pt x="135802" y="823865"/>
                      </a:cubicBezTo>
                      <a:lnTo>
                        <a:pt x="135802" y="823865"/>
                      </a:lnTo>
                      <a:cubicBezTo>
                        <a:pt x="136557" y="794441"/>
                        <a:pt x="140329" y="647323"/>
                        <a:pt x="140329" y="647323"/>
                      </a:cubicBezTo>
                      <a:lnTo>
                        <a:pt x="140329" y="647323"/>
                      </a:lnTo>
                      <a:cubicBezTo>
                        <a:pt x="136557" y="642042"/>
                        <a:pt x="120713" y="626952"/>
                        <a:pt x="117695" y="615635"/>
                      </a:cubicBezTo>
                      <a:cubicBezTo>
                        <a:pt x="114677" y="604318"/>
                        <a:pt x="116941" y="590739"/>
                        <a:pt x="122222" y="579422"/>
                      </a:cubicBezTo>
                      <a:cubicBezTo>
                        <a:pt x="127503" y="568105"/>
                        <a:pt x="149382" y="547734"/>
                        <a:pt x="149382" y="547734"/>
                      </a:cubicBezTo>
                      <a:lnTo>
                        <a:pt x="149382" y="547734"/>
                      </a:lnTo>
                      <a:cubicBezTo>
                        <a:pt x="148628" y="460972"/>
                        <a:pt x="144855" y="27160"/>
                        <a:pt x="144855" y="27160"/>
                      </a:cubicBezTo>
                      <a:lnTo>
                        <a:pt x="144855" y="27160"/>
                      </a:lnTo>
                      <a:cubicBezTo>
                        <a:pt x="146364" y="24142"/>
                        <a:pt x="150137" y="13580"/>
                        <a:pt x="153909" y="9053"/>
                      </a:cubicBezTo>
                      <a:cubicBezTo>
                        <a:pt x="157681" y="4526"/>
                        <a:pt x="162208" y="0"/>
                        <a:pt x="167489" y="0"/>
                      </a:cubicBezTo>
                      <a:cubicBezTo>
                        <a:pt x="172770" y="0"/>
                        <a:pt x="181824" y="6790"/>
                        <a:pt x="185596" y="9053"/>
                      </a:cubicBezTo>
                      <a:cubicBezTo>
                        <a:pt x="189368" y="11316"/>
                        <a:pt x="190123" y="13580"/>
                        <a:pt x="190123" y="13580"/>
                      </a:cubicBezTo>
                      <a:lnTo>
                        <a:pt x="190123" y="13580"/>
                      </a:lnTo>
                      <a:lnTo>
                        <a:pt x="190123" y="552261"/>
                      </a:lnTo>
                      <a:lnTo>
                        <a:pt x="190123" y="552261"/>
                      </a:lnTo>
                      <a:cubicBezTo>
                        <a:pt x="195404" y="556788"/>
                        <a:pt x="215774" y="568860"/>
                        <a:pt x="221810" y="579422"/>
                      </a:cubicBezTo>
                      <a:cubicBezTo>
                        <a:pt x="227846" y="589984"/>
                        <a:pt x="230864" y="603564"/>
                        <a:pt x="226337" y="615635"/>
                      </a:cubicBezTo>
                      <a:cubicBezTo>
                        <a:pt x="221810" y="627706"/>
                        <a:pt x="194649" y="651849"/>
                        <a:pt x="194649" y="651849"/>
                      </a:cubicBezTo>
                      <a:lnTo>
                        <a:pt x="194649" y="651849"/>
                      </a:lnTo>
                      <a:lnTo>
                        <a:pt x="194649" y="823865"/>
                      </a:lnTo>
                      <a:lnTo>
                        <a:pt x="194649" y="823865"/>
                      </a:lnTo>
                      <a:cubicBezTo>
                        <a:pt x="206720" y="829901"/>
                        <a:pt x="250479" y="840463"/>
                        <a:pt x="267077" y="860079"/>
                      </a:cubicBezTo>
                      <a:cubicBezTo>
                        <a:pt x="283675" y="879695"/>
                        <a:pt x="291975" y="919681"/>
                        <a:pt x="294238" y="941560"/>
                      </a:cubicBezTo>
                      <a:cubicBezTo>
                        <a:pt x="296501" y="963439"/>
                        <a:pt x="289710" y="974756"/>
                        <a:pt x="280657" y="991354"/>
                      </a:cubicBezTo>
                      <a:cubicBezTo>
                        <a:pt x="271604" y="1007952"/>
                        <a:pt x="248216" y="1030585"/>
                        <a:pt x="239917" y="1041148"/>
                      </a:cubicBezTo>
                      <a:cubicBezTo>
                        <a:pt x="231618" y="1051710"/>
                        <a:pt x="230863" y="1054729"/>
                        <a:pt x="230863" y="1054729"/>
                      </a:cubicBezTo>
                      <a:lnTo>
                        <a:pt x="230863" y="1054729"/>
                      </a:lnTo>
                      <a:lnTo>
                        <a:pt x="230863" y="1683944"/>
                      </a:lnTo>
                      <a:lnTo>
                        <a:pt x="230863" y="1683944"/>
                      </a:lnTo>
                      <a:cubicBezTo>
                        <a:pt x="242180" y="1692997"/>
                        <a:pt x="283675" y="1712614"/>
                        <a:pt x="298764" y="1738265"/>
                      </a:cubicBezTo>
                      <a:cubicBezTo>
                        <a:pt x="313853" y="1763916"/>
                        <a:pt x="321398" y="1811447"/>
                        <a:pt x="321398" y="1837853"/>
                      </a:cubicBezTo>
                      <a:cubicBezTo>
                        <a:pt x="321398" y="1864259"/>
                        <a:pt x="309326" y="1879349"/>
                        <a:pt x="298764" y="1896701"/>
                      </a:cubicBezTo>
                      <a:cubicBezTo>
                        <a:pt x="288202" y="1914053"/>
                        <a:pt x="258024" y="1941968"/>
                        <a:pt x="258024" y="1941968"/>
                      </a:cubicBezTo>
                      <a:lnTo>
                        <a:pt x="258024" y="1941968"/>
                      </a:lnTo>
                      <a:lnTo>
                        <a:pt x="307818" y="2032503"/>
                      </a:lnTo>
                      <a:lnTo>
                        <a:pt x="307818" y="2032503"/>
                      </a:lnTo>
                      <a:lnTo>
                        <a:pt x="407406" y="2032503"/>
                      </a:lnTo>
                      <a:lnTo>
                        <a:pt x="407406" y="2032503"/>
                      </a:lnTo>
                      <a:lnTo>
                        <a:pt x="443620" y="1987235"/>
                      </a:lnTo>
                      <a:lnTo>
                        <a:pt x="443620" y="1987235"/>
                      </a:lnTo>
                      <a:lnTo>
                        <a:pt x="547735" y="1982709"/>
                      </a:lnTo>
                      <a:lnTo>
                        <a:pt x="547735" y="1982709"/>
                      </a:lnTo>
                      <a:cubicBezTo>
                        <a:pt x="546981" y="1913299"/>
                        <a:pt x="543208" y="1566249"/>
                        <a:pt x="543208" y="1566249"/>
                      </a:cubicBezTo>
                      <a:lnTo>
                        <a:pt x="543208" y="1566249"/>
                      </a:lnTo>
                      <a:lnTo>
                        <a:pt x="597529" y="1557196"/>
                      </a:lnTo>
                      <a:lnTo>
                        <a:pt x="597529" y="1557196"/>
                      </a:lnTo>
                      <a:lnTo>
                        <a:pt x="597529" y="1539089"/>
                      </a:lnTo>
                      <a:lnTo>
                        <a:pt x="597529" y="1539089"/>
                      </a:lnTo>
                      <a:lnTo>
                        <a:pt x="570368" y="1530035"/>
                      </a:lnTo>
                      <a:lnTo>
                        <a:pt x="570368" y="1530035"/>
                      </a:lnTo>
                      <a:lnTo>
                        <a:pt x="642796" y="1453081"/>
                      </a:lnTo>
                      <a:lnTo>
                        <a:pt x="642796" y="1453081"/>
                      </a:lnTo>
                      <a:lnTo>
                        <a:pt x="746911" y="1525509"/>
                      </a:lnTo>
                      <a:cubicBezTo>
                        <a:pt x="764264" y="1538335"/>
                        <a:pt x="752947" y="1526263"/>
                        <a:pt x="746911" y="1530035"/>
                      </a:cubicBezTo>
                      <a:cubicBezTo>
                        <a:pt x="740875" y="1533807"/>
                        <a:pt x="710697" y="1548142"/>
                        <a:pt x="710697" y="1548142"/>
                      </a:cubicBezTo>
                      <a:lnTo>
                        <a:pt x="710697" y="1548142"/>
                      </a:lnTo>
                      <a:lnTo>
                        <a:pt x="760491" y="1557196"/>
                      </a:lnTo>
                      <a:lnTo>
                        <a:pt x="760491" y="1557196"/>
                      </a:lnTo>
                      <a:cubicBezTo>
                        <a:pt x="759737" y="1627360"/>
                        <a:pt x="755964" y="1978182"/>
                        <a:pt x="755964" y="1978182"/>
                      </a:cubicBezTo>
                      <a:lnTo>
                        <a:pt x="755964" y="1978182"/>
                      </a:lnTo>
                      <a:lnTo>
                        <a:pt x="918927" y="1991762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5" name="任意多边形 44"/>
                <p:cNvSpPr/>
                <p:nvPr/>
              </p:nvSpPr>
              <p:spPr>
                <a:xfrm>
                  <a:off x="3806982" y="5445659"/>
                  <a:ext cx="660903" cy="611109"/>
                </a:xfrm>
                <a:custGeom>
                  <a:avLst/>
                  <a:gdLst>
                    <a:gd name="connsiteX0" fmla="*/ 0 w 660903"/>
                    <a:gd name="connsiteY0" fmla="*/ 506994 h 611109"/>
                    <a:gd name="connsiteX1" fmla="*/ 0 w 660903"/>
                    <a:gd name="connsiteY1" fmla="*/ 611109 h 611109"/>
                    <a:gd name="connsiteX2" fmla="*/ 0 w 660903"/>
                    <a:gd name="connsiteY2" fmla="*/ 611109 h 611109"/>
                    <a:gd name="connsiteX3" fmla="*/ 117695 w 660903"/>
                    <a:gd name="connsiteY3" fmla="*/ 611109 h 611109"/>
                    <a:gd name="connsiteX4" fmla="*/ 117695 w 660903"/>
                    <a:gd name="connsiteY4" fmla="*/ 611109 h 611109"/>
                    <a:gd name="connsiteX5" fmla="*/ 117695 w 660903"/>
                    <a:gd name="connsiteY5" fmla="*/ 262551 h 611109"/>
                    <a:gd name="connsiteX6" fmla="*/ 117695 w 660903"/>
                    <a:gd name="connsiteY6" fmla="*/ 262551 h 611109"/>
                    <a:gd name="connsiteX7" fmla="*/ 321398 w 660903"/>
                    <a:gd name="connsiteY7" fmla="*/ 262551 h 611109"/>
                    <a:gd name="connsiteX8" fmla="*/ 321398 w 660903"/>
                    <a:gd name="connsiteY8" fmla="*/ 262551 h 611109"/>
                    <a:gd name="connsiteX9" fmla="*/ 321398 w 660903"/>
                    <a:gd name="connsiteY9" fmla="*/ 606583 h 611109"/>
                    <a:gd name="connsiteX10" fmla="*/ 321398 w 660903"/>
                    <a:gd name="connsiteY10" fmla="*/ 606583 h 611109"/>
                    <a:gd name="connsiteX11" fmla="*/ 448147 w 660903"/>
                    <a:gd name="connsiteY11" fmla="*/ 606583 h 611109"/>
                    <a:gd name="connsiteX12" fmla="*/ 448147 w 660903"/>
                    <a:gd name="connsiteY12" fmla="*/ 606583 h 611109"/>
                    <a:gd name="connsiteX13" fmla="*/ 448147 w 660903"/>
                    <a:gd name="connsiteY13" fmla="*/ 135802 h 611109"/>
                    <a:gd name="connsiteX14" fmla="*/ 448147 w 660903"/>
                    <a:gd name="connsiteY14" fmla="*/ 135802 h 611109"/>
                    <a:gd name="connsiteX15" fmla="*/ 470780 w 660903"/>
                    <a:gd name="connsiteY15" fmla="*/ 113169 h 611109"/>
                    <a:gd name="connsiteX16" fmla="*/ 470780 w 660903"/>
                    <a:gd name="connsiteY16" fmla="*/ 113169 h 611109"/>
                    <a:gd name="connsiteX17" fmla="*/ 470780 w 660903"/>
                    <a:gd name="connsiteY17" fmla="*/ 63375 h 611109"/>
                    <a:gd name="connsiteX18" fmla="*/ 470780 w 660903"/>
                    <a:gd name="connsiteY18" fmla="*/ 63375 h 611109"/>
                    <a:gd name="connsiteX19" fmla="*/ 561315 w 660903"/>
                    <a:gd name="connsiteY19" fmla="*/ 4527 h 611109"/>
                    <a:gd name="connsiteX20" fmla="*/ 561315 w 660903"/>
                    <a:gd name="connsiteY20" fmla="*/ 4527 h 611109"/>
                    <a:gd name="connsiteX21" fmla="*/ 660903 w 660903"/>
                    <a:gd name="connsiteY21" fmla="*/ 0 h 6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60903" h="611109">
                      <a:moveTo>
                        <a:pt x="0" y="506994"/>
                      </a:moveTo>
                      <a:lnTo>
                        <a:pt x="0" y="611109"/>
                      </a:lnTo>
                      <a:lnTo>
                        <a:pt x="0" y="611109"/>
                      </a:lnTo>
                      <a:lnTo>
                        <a:pt x="117695" y="611109"/>
                      </a:lnTo>
                      <a:lnTo>
                        <a:pt x="117695" y="611109"/>
                      </a:lnTo>
                      <a:lnTo>
                        <a:pt x="117695" y="262551"/>
                      </a:lnTo>
                      <a:lnTo>
                        <a:pt x="117695" y="262551"/>
                      </a:lnTo>
                      <a:lnTo>
                        <a:pt x="321398" y="262551"/>
                      </a:lnTo>
                      <a:lnTo>
                        <a:pt x="321398" y="262551"/>
                      </a:lnTo>
                      <a:lnTo>
                        <a:pt x="321398" y="606583"/>
                      </a:lnTo>
                      <a:lnTo>
                        <a:pt x="321398" y="606583"/>
                      </a:lnTo>
                      <a:lnTo>
                        <a:pt x="448147" y="606583"/>
                      </a:lnTo>
                      <a:lnTo>
                        <a:pt x="448147" y="606583"/>
                      </a:lnTo>
                      <a:lnTo>
                        <a:pt x="448147" y="135802"/>
                      </a:lnTo>
                      <a:lnTo>
                        <a:pt x="448147" y="135802"/>
                      </a:lnTo>
                      <a:lnTo>
                        <a:pt x="470780" y="113169"/>
                      </a:lnTo>
                      <a:lnTo>
                        <a:pt x="470780" y="113169"/>
                      </a:lnTo>
                      <a:lnTo>
                        <a:pt x="470780" y="63375"/>
                      </a:lnTo>
                      <a:lnTo>
                        <a:pt x="470780" y="63375"/>
                      </a:lnTo>
                      <a:lnTo>
                        <a:pt x="561315" y="4527"/>
                      </a:lnTo>
                      <a:lnTo>
                        <a:pt x="561315" y="4527"/>
                      </a:lnTo>
                      <a:lnTo>
                        <a:pt x="660903" y="0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6" name="任意多边形 45"/>
                <p:cNvSpPr/>
                <p:nvPr/>
              </p:nvSpPr>
              <p:spPr>
                <a:xfrm>
                  <a:off x="4449778" y="5441133"/>
                  <a:ext cx="457200" cy="565841"/>
                </a:xfrm>
                <a:custGeom>
                  <a:avLst/>
                  <a:gdLst>
                    <a:gd name="connsiteX0" fmla="*/ 0 w 457200"/>
                    <a:gd name="connsiteY0" fmla="*/ 0 h 565841"/>
                    <a:gd name="connsiteX1" fmla="*/ 144856 w 457200"/>
                    <a:gd name="connsiteY1" fmla="*/ 113168 h 565841"/>
                    <a:gd name="connsiteX2" fmla="*/ 144856 w 457200"/>
                    <a:gd name="connsiteY2" fmla="*/ 113168 h 565841"/>
                    <a:gd name="connsiteX3" fmla="*/ 144856 w 457200"/>
                    <a:gd name="connsiteY3" fmla="*/ 565841 h 565841"/>
                    <a:gd name="connsiteX4" fmla="*/ 144856 w 457200"/>
                    <a:gd name="connsiteY4" fmla="*/ 565841 h 565841"/>
                    <a:gd name="connsiteX5" fmla="*/ 212757 w 457200"/>
                    <a:gd name="connsiteY5" fmla="*/ 565841 h 565841"/>
                    <a:gd name="connsiteX6" fmla="*/ 212757 w 457200"/>
                    <a:gd name="connsiteY6" fmla="*/ 565841 h 565841"/>
                    <a:gd name="connsiteX7" fmla="*/ 212757 w 457200"/>
                    <a:gd name="connsiteY7" fmla="*/ 285184 h 565841"/>
                    <a:gd name="connsiteX8" fmla="*/ 212757 w 457200"/>
                    <a:gd name="connsiteY8" fmla="*/ 285184 h 565841"/>
                    <a:gd name="connsiteX9" fmla="*/ 321398 w 457200"/>
                    <a:gd name="connsiteY9" fmla="*/ 280657 h 565841"/>
                    <a:gd name="connsiteX10" fmla="*/ 321398 w 457200"/>
                    <a:gd name="connsiteY10" fmla="*/ 280657 h 565841"/>
                    <a:gd name="connsiteX11" fmla="*/ 321398 w 457200"/>
                    <a:gd name="connsiteY11" fmla="*/ 22633 h 565841"/>
                    <a:gd name="connsiteX12" fmla="*/ 321398 w 457200"/>
                    <a:gd name="connsiteY12" fmla="*/ 22633 h 565841"/>
                    <a:gd name="connsiteX13" fmla="*/ 457200 w 457200"/>
                    <a:gd name="connsiteY13" fmla="*/ 22633 h 565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57200" h="565841">
                      <a:moveTo>
                        <a:pt x="0" y="0"/>
                      </a:moveTo>
                      <a:lnTo>
                        <a:pt x="144856" y="113168"/>
                      </a:lnTo>
                      <a:lnTo>
                        <a:pt x="144856" y="113168"/>
                      </a:lnTo>
                      <a:lnTo>
                        <a:pt x="144856" y="565841"/>
                      </a:lnTo>
                      <a:lnTo>
                        <a:pt x="144856" y="565841"/>
                      </a:lnTo>
                      <a:lnTo>
                        <a:pt x="212757" y="565841"/>
                      </a:lnTo>
                      <a:lnTo>
                        <a:pt x="212757" y="565841"/>
                      </a:lnTo>
                      <a:lnTo>
                        <a:pt x="212757" y="285184"/>
                      </a:lnTo>
                      <a:lnTo>
                        <a:pt x="212757" y="285184"/>
                      </a:lnTo>
                      <a:lnTo>
                        <a:pt x="321398" y="280657"/>
                      </a:lnTo>
                      <a:lnTo>
                        <a:pt x="321398" y="280657"/>
                      </a:lnTo>
                      <a:lnTo>
                        <a:pt x="321398" y="22633"/>
                      </a:lnTo>
                      <a:lnTo>
                        <a:pt x="321398" y="22633"/>
                      </a:lnTo>
                      <a:lnTo>
                        <a:pt x="457200" y="22633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7" name="任意多边形 46"/>
                <p:cNvSpPr/>
                <p:nvPr/>
              </p:nvSpPr>
              <p:spPr>
                <a:xfrm>
                  <a:off x="4906978" y="5463766"/>
                  <a:ext cx="307818" cy="538682"/>
                </a:xfrm>
                <a:custGeom>
                  <a:avLst/>
                  <a:gdLst>
                    <a:gd name="connsiteX0" fmla="*/ 0 w 307818"/>
                    <a:gd name="connsiteY0" fmla="*/ 0 h 538682"/>
                    <a:gd name="connsiteX1" fmla="*/ 0 w 307818"/>
                    <a:gd name="connsiteY1" fmla="*/ 538682 h 538682"/>
                    <a:gd name="connsiteX2" fmla="*/ 0 w 307818"/>
                    <a:gd name="connsiteY2" fmla="*/ 538682 h 538682"/>
                    <a:gd name="connsiteX3" fmla="*/ 36214 w 307818"/>
                    <a:gd name="connsiteY3" fmla="*/ 534155 h 538682"/>
                    <a:gd name="connsiteX4" fmla="*/ 36214 w 307818"/>
                    <a:gd name="connsiteY4" fmla="*/ 534155 h 538682"/>
                    <a:gd name="connsiteX5" fmla="*/ 36214 w 307818"/>
                    <a:gd name="connsiteY5" fmla="*/ 443620 h 538682"/>
                    <a:gd name="connsiteX6" fmla="*/ 36214 w 307818"/>
                    <a:gd name="connsiteY6" fmla="*/ 443620 h 538682"/>
                    <a:gd name="connsiteX7" fmla="*/ 149382 w 307818"/>
                    <a:gd name="connsiteY7" fmla="*/ 339505 h 538682"/>
                    <a:gd name="connsiteX8" fmla="*/ 149382 w 307818"/>
                    <a:gd name="connsiteY8" fmla="*/ 339505 h 538682"/>
                    <a:gd name="connsiteX9" fmla="*/ 285184 w 307818"/>
                    <a:gd name="connsiteY9" fmla="*/ 452674 h 538682"/>
                    <a:gd name="connsiteX10" fmla="*/ 285184 w 307818"/>
                    <a:gd name="connsiteY10" fmla="*/ 452674 h 538682"/>
                    <a:gd name="connsiteX11" fmla="*/ 285184 w 307818"/>
                    <a:gd name="connsiteY11" fmla="*/ 538682 h 538682"/>
                    <a:gd name="connsiteX12" fmla="*/ 285184 w 307818"/>
                    <a:gd name="connsiteY12" fmla="*/ 538682 h 538682"/>
                    <a:gd name="connsiteX13" fmla="*/ 307818 w 307818"/>
                    <a:gd name="connsiteY13" fmla="*/ 538682 h 5386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07818" h="538682">
                      <a:moveTo>
                        <a:pt x="0" y="0"/>
                      </a:moveTo>
                      <a:lnTo>
                        <a:pt x="0" y="538682"/>
                      </a:lnTo>
                      <a:lnTo>
                        <a:pt x="0" y="538682"/>
                      </a:lnTo>
                      <a:lnTo>
                        <a:pt x="36214" y="534155"/>
                      </a:lnTo>
                      <a:lnTo>
                        <a:pt x="36214" y="534155"/>
                      </a:lnTo>
                      <a:lnTo>
                        <a:pt x="36214" y="443620"/>
                      </a:lnTo>
                      <a:lnTo>
                        <a:pt x="36214" y="443620"/>
                      </a:lnTo>
                      <a:lnTo>
                        <a:pt x="149382" y="339505"/>
                      </a:lnTo>
                      <a:lnTo>
                        <a:pt x="149382" y="339505"/>
                      </a:lnTo>
                      <a:lnTo>
                        <a:pt x="285184" y="452674"/>
                      </a:lnTo>
                      <a:lnTo>
                        <a:pt x="285184" y="452674"/>
                      </a:lnTo>
                      <a:lnTo>
                        <a:pt x="285184" y="538682"/>
                      </a:lnTo>
                      <a:lnTo>
                        <a:pt x="285184" y="538682"/>
                      </a:lnTo>
                      <a:lnTo>
                        <a:pt x="307818" y="538682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8" name="任意多边形 47"/>
                <p:cNvSpPr/>
                <p:nvPr/>
              </p:nvSpPr>
              <p:spPr>
                <a:xfrm>
                  <a:off x="5214796" y="4983933"/>
                  <a:ext cx="316871" cy="1023041"/>
                </a:xfrm>
                <a:custGeom>
                  <a:avLst/>
                  <a:gdLst>
                    <a:gd name="connsiteX0" fmla="*/ 4527 w 316871"/>
                    <a:gd name="connsiteY0" fmla="*/ 1023041 h 1023041"/>
                    <a:gd name="connsiteX1" fmla="*/ 0 w 316871"/>
                    <a:gd name="connsiteY1" fmla="*/ 167489 h 1023041"/>
                    <a:gd name="connsiteX2" fmla="*/ 0 w 316871"/>
                    <a:gd name="connsiteY2" fmla="*/ 167489 h 1023041"/>
                    <a:gd name="connsiteX3" fmla="*/ 76954 w 316871"/>
                    <a:gd name="connsiteY3" fmla="*/ 122221 h 1023041"/>
                    <a:gd name="connsiteX4" fmla="*/ 76954 w 316871"/>
                    <a:gd name="connsiteY4" fmla="*/ 122221 h 1023041"/>
                    <a:gd name="connsiteX5" fmla="*/ 76954 w 316871"/>
                    <a:gd name="connsiteY5" fmla="*/ 4526 h 1023041"/>
                    <a:gd name="connsiteX6" fmla="*/ 76954 w 316871"/>
                    <a:gd name="connsiteY6" fmla="*/ 4526 h 1023041"/>
                    <a:gd name="connsiteX7" fmla="*/ 271604 w 316871"/>
                    <a:gd name="connsiteY7" fmla="*/ 0 h 1023041"/>
                    <a:gd name="connsiteX8" fmla="*/ 271604 w 316871"/>
                    <a:gd name="connsiteY8" fmla="*/ 0 h 1023041"/>
                    <a:gd name="connsiteX9" fmla="*/ 280657 w 316871"/>
                    <a:gd name="connsiteY9" fmla="*/ 443619 h 1023041"/>
                    <a:gd name="connsiteX10" fmla="*/ 280657 w 316871"/>
                    <a:gd name="connsiteY10" fmla="*/ 443619 h 1023041"/>
                    <a:gd name="connsiteX11" fmla="*/ 316871 w 316871"/>
                    <a:gd name="connsiteY11" fmla="*/ 674483 h 10230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16871" h="1023041">
                      <a:moveTo>
                        <a:pt x="4527" y="1023041"/>
                      </a:moveTo>
                      <a:lnTo>
                        <a:pt x="0" y="167489"/>
                      </a:lnTo>
                      <a:lnTo>
                        <a:pt x="0" y="167489"/>
                      </a:lnTo>
                      <a:lnTo>
                        <a:pt x="76954" y="122221"/>
                      </a:lnTo>
                      <a:lnTo>
                        <a:pt x="76954" y="122221"/>
                      </a:lnTo>
                      <a:lnTo>
                        <a:pt x="76954" y="4526"/>
                      </a:lnTo>
                      <a:lnTo>
                        <a:pt x="76954" y="4526"/>
                      </a:lnTo>
                      <a:lnTo>
                        <a:pt x="271604" y="0"/>
                      </a:lnTo>
                      <a:lnTo>
                        <a:pt x="271604" y="0"/>
                      </a:lnTo>
                      <a:lnTo>
                        <a:pt x="280657" y="443619"/>
                      </a:lnTo>
                      <a:lnTo>
                        <a:pt x="280657" y="443619"/>
                      </a:lnTo>
                      <a:lnTo>
                        <a:pt x="316871" y="674483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9" name="任意多边形 48"/>
                <p:cNvSpPr/>
                <p:nvPr/>
              </p:nvSpPr>
              <p:spPr>
                <a:xfrm>
                  <a:off x="5531667" y="5653889"/>
                  <a:ext cx="176543" cy="348559"/>
                </a:xfrm>
                <a:custGeom>
                  <a:avLst/>
                  <a:gdLst>
                    <a:gd name="connsiteX0" fmla="*/ 0 w 176543"/>
                    <a:gd name="connsiteY0" fmla="*/ 0 h 348559"/>
                    <a:gd name="connsiteX1" fmla="*/ 4527 w 176543"/>
                    <a:gd name="connsiteY1" fmla="*/ 348559 h 348559"/>
                    <a:gd name="connsiteX2" fmla="*/ 4527 w 176543"/>
                    <a:gd name="connsiteY2" fmla="*/ 348559 h 348559"/>
                    <a:gd name="connsiteX3" fmla="*/ 36214 w 176543"/>
                    <a:gd name="connsiteY3" fmla="*/ 348559 h 348559"/>
                    <a:gd name="connsiteX4" fmla="*/ 36214 w 176543"/>
                    <a:gd name="connsiteY4" fmla="*/ 348559 h 348559"/>
                    <a:gd name="connsiteX5" fmla="*/ 36214 w 176543"/>
                    <a:gd name="connsiteY5" fmla="*/ 185596 h 348559"/>
                    <a:gd name="connsiteX6" fmla="*/ 36214 w 176543"/>
                    <a:gd name="connsiteY6" fmla="*/ 185596 h 348559"/>
                    <a:gd name="connsiteX7" fmla="*/ 108642 w 176543"/>
                    <a:gd name="connsiteY7" fmla="*/ 90535 h 348559"/>
                    <a:gd name="connsiteX8" fmla="*/ 108642 w 176543"/>
                    <a:gd name="connsiteY8" fmla="*/ 90535 h 348559"/>
                    <a:gd name="connsiteX9" fmla="*/ 176543 w 176543"/>
                    <a:gd name="connsiteY9" fmla="*/ 190123 h 348559"/>
                    <a:gd name="connsiteX10" fmla="*/ 176543 w 176543"/>
                    <a:gd name="connsiteY10" fmla="*/ 190123 h 348559"/>
                    <a:gd name="connsiteX11" fmla="*/ 176543 w 176543"/>
                    <a:gd name="connsiteY11" fmla="*/ 348559 h 348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6543" h="348559">
                      <a:moveTo>
                        <a:pt x="0" y="0"/>
                      </a:moveTo>
                      <a:lnTo>
                        <a:pt x="4527" y="348559"/>
                      </a:lnTo>
                      <a:lnTo>
                        <a:pt x="4527" y="348559"/>
                      </a:lnTo>
                      <a:lnTo>
                        <a:pt x="36214" y="348559"/>
                      </a:lnTo>
                      <a:lnTo>
                        <a:pt x="36214" y="348559"/>
                      </a:lnTo>
                      <a:lnTo>
                        <a:pt x="36214" y="185596"/>
                      </a:lnTo>
                      <a:lnTo>
                        <a:pt x="36214" y="185596"/>
                      </a:lnTo>
                      <a:lnTo>
                        <a:pt x="108642" y="90535"/>
                      </a:lnTo>
                      <a:lnTo>
                        <a:pt x="108642" y="90535"/>
                      </a:lnTo>
                      <a:lnTo>
                        <a:pt x="176543" y="190123"/>
                      </a:lnTo>
                      <a:lnTo>
                        <a:pt x="176543" y="190123"/>
                      </a:lnTo>
                      <a:lnTo>
                        <a:pt x="176543" y="348559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0" name="任意多边形 49"/>
                <p:cNvSpPr/>
                <p:nvPr/>
              </p:nvSpPr>
              <p:spPr>
                <a:xfrm>
                  <a:off x="5708210" y="5174055"/>
                  <a:ext cx="891766" cy="832919"/>
                </a:xfrm>
                <a:custGeom>
                  <a:avLst/>
                  <a:gdLst>
                    <a:gd name="connsiteX0" fmla="*/ 0 w 891766"/>
                    <a:gd name="connsiteY0" fmla="*/ 828393 h 832919"/>
                    <a:gd name="connsiteX1" fmla="*/ 248970 w 891766"/>
                    <a:gd name="connsiteY1" fmla="*/ 832919 h 832919"/>
                    <a:gd name="connsiteX2" fmla="*/ 248970 w 891766"/>
                    <a:gd name="connsiteY2" fmla="*/ 832919 h 832919"/>
                    <a:gd name="connsiteX3" fmla="*/ 248970 w 891766"/>
                    <a:gd name="connsiteY3" fmla="*/ 108642 h 832919"/>
                    <a:gd name="connsiteX4" fmla="*/ 248970 w 891766"/>
                    <a:gd name="connsiteY4" fmla="*/ 108642 h 832919"/>
                    <a:gd name="connsiteX5" fmla="*/ 339505 w 891766"/>
                    <a:gd name="connsiteY5" fmla="*/ 4527 h 832919"/>
                    <a:gd name="connsiteX6" fmla="*/ 339505 w 891766"/>
                    <a:gd name="connsiteY6" fmla="*/ 4527 h 832919"/>
                    <a:gd name="connsiteX7" fmla="*/ 411933 w 891766"/>
                    <a:gd name="connsiteY7" fmla="*/ 0 h 832919"/>
                    <a:gd name="connsiteX8" fmla="*/ 411933 w 891766"/>
                    <a:gd name="connsiteY8" fmla="*/ 0 h 832919"/>
                    <a:gd name="connsiteX9" fmla="*/ 497940 w 891766"/>
                    <a:gd name="connsiteY9" fmla="*/ 86008 h 832919"/>
                    <a:gd name="connsiteX10" fmla="*/ 497940 w 891766"/>
                    <a:gd name="connsiteY10" fmla="*/ 86008 h 832919"/>
                    <a:gd name="connsiteX11" fmla="*/ 502467 w 891766"/>
                    <a:gd name="connsiteY11" fmla="*/ 353086 h 832919"/>
                    <a:gd name="connsiteX12" fmla="*/ 502467 w 891766"/>
                    <a:gd name="connsiteY12" fmla="*/ 353086 h 832919"/>
                    <a:gd name="connsiteX13" fmla="*/ 547735 w 891766"/>
                    <a:gd name="connsiteY13" fmla="*/ 371193 h 832919"/>
                    <a:gd name="connsiteX14" fmla="*/ 547735 w 891766"/>
                    <a:gd name="connsiteY14" fmla="*/ 371193 h 832919"/>
                    <a:gd name="connsiteX15" fmla="*/ 552261 w 891766"/>
                    <a:gd name="connsiteY15" fmla="*/ 765018 h 832919"/>
                    <a:gd name="connsiteX16" fmla="*/ 552261 w 891766"/>
                    <a:gd name="connsiteY16" fmla="*/ 765018 h 832919"/>
                    <a:gd name="connsiteX17" fmla="*/ 679010 w 891766"/>
                    <a:gd name="connsiteY17" fmla="*/ 769545 h 832919"/>
                    <a:gd name="connsiteX18" fmla="*/ 679010 w 891766"/>
                    <a:gd name="connsiteY18" fmla="*/ 769545 h 832919"/>
                    <a:gd name="connsiteX19" fmla="*/ 692590 w 891766"/>
                    <a:gd name="connsiteY19" fmla="*/ 715224 h 832919"/>
                    <a:gd name="connsiteX20" fmla="*/ 692590 w 891766"/>
                    <a:gd name="connsiteY20" fmla="*/ 715224 h 832919"/>
                    <a:gd name="connsiteX21" fmla="*/ 801232 w 891766"/>
                    <a:gd name="connsiteY21" fmla="*/ 715224 h 832919"/>
                    <a:gd name="connsiteX22" fmla="*/ 801232 w 891766"/>
                    <a:gd name="connsiteY22" fmla="*/ 715224 h 832919"/>
                    <a:gd name="connsiteX23" fmla="*/ 796705 w 891766"/>
                    <a:gd name="connsiteY23" fmla="*/ 203703 h 832919"/>
                    <a:gd name="connsiteX24" fmla="*/ 796705 w 891766"/>
                    <a:gd name="connsiteY24" fmla="*/ 203703 h 832919"/>
                    <a:gd name="connsiteX25" fmla="*/ 891766 w 891766"/>
                    <a:gd name="connsiteY25" fmla="*/ 199177 h 832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91766" h="832919">
                      <a:moveTo>
                        <a:pt x="0" y="828393"/>
                      </a:moveTo>
                      <a:lnTo>
                        <a:pt x="248970" y="832919"/>
                      </a:lnTo>
                      <a:lnTo>
                        <a:pt x="248970" y="832919"/>
                      </a:lnTo>
                      <a:lnTo>
                        <a:pt x="248970" y="108642"/>
                      </a:lnTo>
                      <a:lnTo>
                        <a:pt x="248970" y="108642"/>
                      </a:lnTo>
                      <a:lnTo>
                        <a:pt x="339505" y="4527"/>
                      </a:lnTo>
                      <a:lnTo>
                        <a:pt x="339505" y="4527"/>
                      </a:lnTo>
                      <a:lnTo>
                        <a:pt x="411933" y="0"/>
                      </a:lnTo>
                      <a:lnTo>
                        <a:pt x="411933" y="0"/>
                      </a:lnTo>
                      <a:lnTo>
                        <a:pt x="497940" y="86008"/>
                      </a:lnTo>
                      <a:lnTo>
                        <a:pt x="497940" y="86008"/>
                      </a:lnTo>
                      <a:cubicBezTo>
                        <a:pt x="498695" y="130521"/>
                        <a:pt x="502467" y="353086"/>
                        <a:pt x="502467" y="353086"/>
                      </a:cubicBezTo>
                      <a:lnTo>
                        <a:pt x="502467" y="353086"/>
                      </a:lnTo>
                      <a:lnTo>
                        <a:pt x="547735" y="371193"/>
                      </a:lnTo>
                      <a:lnTo>
                        <a:pt x="547735" y="371193"/>
                      </a:lnTo>
                      <a:cubicBezTo>
                        <a:pt x="548489" y="436830"/>
                        <a:pt x="552261" y="765018"/>
                        <a:pt x="552261" y="765018"/>
                      </a:cubicBezTo>
                      <a:lnTo>
                        <a:pt x="552261" y="765018"/>
                      </a:lnTo>
                      <a:lnTo>
                        <a:pt x="679010" y="769545"/>
                      </a:lnTo>
                      <a:lnTo>
                        <a:pt x="679010" y="769545"/>
                      </a:lnTo>
                      <a:lnTo>
                        <a:pt x="692590" y="715224"/>
                      </a:lnTo>
                      <a:lnTo>
                        <a:pt x="692590" y="715224"/>
                      </a:lnTo>
                      <a:lnTo>
                        <a:pt x="801232" y="715224"/>
                      </a:lnTo>
                      <a:lnTo>
                        <a:pt x="801232" y="715224"/>
                      </a:lnTo>
                      <a:cubicBezTo>
                        <a:pt x="800478" y="629971"/>
                        <a:pt x="796705" y="203703"/>
                        <a:pt x="796705" y="203703"/>
                      </a:cubicBezTo>
                      <a:lnTo>
                        <a:pt x="796705" y="203703"/>
                      </a:lnTo>
                      <a:lnTo>
                        <a:pt x="891766" y="199177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1" name="任意多边形 50"/>
                <p:cNvSpPr/>
                <p:nvPr/>
              </p:nvSpPr>
              <p:spPr>
                <a:xfrm>
                  <a:off x="6593273" y="5091992"/>
                  <a:ext cx="726454" cy="824448"/>
                </a:xfrm>
                <a:custGeom>
                  <a:avLst/>
                  <a:gdLst>
                    <a:gd name="connsiteX0" fmla="*/ 2177 w 726454"/>
                    <a:gd name="connsiteY0" fmla="*/ 281240 h 824448"/>
                    <a:gd name="connsiteX1" fmla="*/ 2177 w 726454"/>
                    <a:gd name="connsiteY1" fmla="*/ 199758 h 824448"/>
                    <a:gd name="connsiteX2" fmla="*/ 24810 w 726454"/>
                    <a:gd name="connsiteY2" fmla="*/ 195232 h 824448"/>
                    <a:gd name="connsiteX3" fmla="*/ 47444 w 726454"/>
                    <a:gd name="connsiteY3" fmla="*/ 204285 h 824448"/>
                    <a:gd name="connsiteX4" fmla="*/ 51971 w 726454"/>
                    <a:gd name="connsiteY4" fmla="*/ 272186 h 824448"/>
                    <a:gd name="connsiteX5" fmla="*/ 51971 w 726454"/>
                    <a:gd name="connsiteY5" fmla="*/ 272186 h 824448"/>
                    <a:gd name="connsiteX6" fmla="*/ 83658 w 726454"/>
                    <a:gd name="connsiteY6" fmla="*/ 276713 h 824448"/>
                    <a:gd name="connsiteX7" fmla="*/ 83658 w 726454"/>
                    <a:gd name="connsiteY7" fmla="*/ 276713 h 824448"/>
                    <a:gd name="connsiteX8" fmla="*/ 137978 w 726454"/>
                    <a:gd name="connsiteY8" fmla="*/ 367248 h 824448"/>
                    <a:gd name="connsiteX9" fmla="*/ 137978 w 726454"/>
                    <a:gd name="connsiteY9" fmla="*/ 367248 h 824448"/>
                    <a:gd name="connsiteX10" fmla="*/ 133452 w 726454"/>
                    <a:gd name="connsiteY10" fmla="*/ 792760 h 824448"/>
                    <a:gd name="connsiteX11" fmla="*/ 133452 w 726454"/>
                    <a:gd name="connsiteY11" fmla="*/ 792760 h 824448"/>
                    <a:gd name="connsiteX12" fmla="*/ 174192 w 726454"/>
                    <a:gd name="connsiteY12" fmla="*/ 792760 h 824448"/>
                    <a:gd name="connsiteX13" fmla="*/ 174192 w 726454"/>
                    <a:gd name="connsiteY13" fmla="*/ 792760 h 824448"/>
                    <a:gd name="connsiteX14" fmla="*/ 201353 w 726454"/>
                    <a:gd name="connsiteY14" fmla="*/ 824448 h 824448"/>
                    <a:gd name="connsiteX15" fmla="*/ 201353 w 726454"/>
                    <a:gd name="connsiteY15" fmla="*/ 824448 h 824448"/>
                    <a:gd name="connsiteX16" fmla="*/ 309994 w 726454"/>
                    <a:gd name="connsiteY16" fmla="*/ 824448 h 824448"/>
                    <a:gd name="connsiteX17" fmla="*/ 309994 w 726454"/>
                    <a:gd name="connsiteY17" fmla="*/ 824448 h 824448"/>
                    <a:gd name="connsiteX18" fmla="*/ 309994 w 726454"/>
                    <a:gd name="connsiteY18" fmla="*/ 217865 h 824448"/>
                    <a:gd name="connsiteX19" fmla="*/ 309994 w 726454"/>
                    <a:gd name="connsiteY19" fmla="*/ 217865 h 824448"/>
                    <a:gd name="connsiteX20" fmla="*/ 391476 w 726454"/>
                    <a:gd name="connsiteY20" fmla="*/ 113751 h 824448"/>
                    <a:gd name="connsiteX21" fmla="*/ 391476 w 726454"/>
                    <a:gd name="connsiteY21" fmla="*/ 113751 h 824448"/>
                    <a:gd name="connsiteX22" fmla="*/ 396002 w 726454"/>
                    <a:gd name="connsiteY22" fmla="*/ 9636 h 824448"/>
                    <a:gd name="connsiteX23" fmla="*/ 409582 w 726454"/>
                    <a:gd name="connsiteY23" fmla="*/ 5109 h 824448"/>
                    <a:gd name="connsiteX24" fmla="*/ 427689 w 726454"/>
                    <a:gd name="connsiteY24" fmla="*/ 14162 h 824448"/>
                    <a:gd name="connsiteX25" fmla="*/ 432216 w 726454"/>
                    <a:gd name="connsiteY25" fmla="*/ 63957 h 824448"/>
                    <a:gd name="connsiteX26" fmla="*/ 436743 w 726454"/>
                    <a:gd name="connsiteY26" fmla="*/ 127331 h 824448"/>
                    <a:gd name="connsiteX27" fmla="*/ 436743 w 726454"/>
                    <a:gd name="connsiteY27" fmla="*/ 127331 h 824448"/>
                    <a:gd name="connsiteX28" fmla="*/ 522751 w 726454"/>
                    <a:gd name="connsiteY28" fmla="*/ 217865 h 824448"/>
                    <a:gd name="connsiteX29" fmla="*/ 522751 w 726454"/>
                    <a:gd name="connsiteY29" fmla="*/ 217865 h 824448"/>
                    <a:gd name="connsiteX30" fmla="*/ 527277 w 726454"/>
                    <a:gd name="connsiteY30" fmla="*/ 321980 h 824448"/>
                    <a:gd name="connsiteX31" fmla="*/ 527277 w 726454"/>
                    <a:gd name="connsiteY31" fmla="*/ 321980 h 824448"/>
                    <a:gd name="connsiteX32" fmla="*/ 595178 w 726454"/>
                    <a:gd name="connsiteY32" fmla="*/ 326507 h 824448"/>
                    <a:gd name="connsiteX33" fmla="*/ 595178 w 726454"/>
                    <a:gd name="connsiteY33" fmla="*/ 326507 h 824448"/>
                    <a:gd name="connsiteX34" fmla="*/ 599705 w 726454"/>
                    <a:gd name="connsiteY34" fmla="*/ 498523 h 824448"/>
                    <a:gd name="connsiteX35" fmla="*/ 599705 w 726454"/>
                    <a:gd name="connsiteY35" fmla="*/ 498523 h 824448"/>
                    <a:gd name="connsiteX36" fmla="*/ 672133 w 726454"/>
                    <a:gd name="connsiteY36" fmla="*/ 503050 h 824448"/>
                    <a:gd name="connsiteX37" fmla="*/ 672133 w 726454"/>
                    <a:gd name="connsiteY37" fmla="*/ 503050 h 824448"/>
                    <a:gd name="connsiteX38" fmla="*/ 676660 w 726454"/>
                    <a:gd name="connsiteY38" fmla="*/ 806341 h 824448"/>
                    <a:gd name="connsiteX39" fmla="*/ 676660 w 726454"/>
                    <a:gd name="connsiteY39" fmla="*/ 806341 h 824448"/>
                    <a:gd name="connsiteX40" fmla="*/ 708347 w 726454"/>
                    <a:gd name="connsiteY40" fmla="*/ 806341 h 824448"/>
                    <a:gd name="connsiteX41" fmla="*/ 708347 w 726454"/>
                    <a:gd name="connsiteY41" fmla="*/ 806341 h 824448"/>
                    <a:gd name="connsiteX42" fmla="*/ 712874 w 726454"/>
                    <a:gd name="connsiteY42" fmla="*/ 666012 h 824448"/>
                    <a:gd name="connsiteX43" fmla="*/ 712874 w 726454"/>
                    <a:gd name="connsiteY43" fmla="*/ 666012 h 824448"/>
                    <a:gd name="connsiteX44" fmla="*/ 726454 w 726454"/>
                    <a:gd name="connsiteY44" fmla="*/ 638852 h 8244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726454" h="824448">
                      <a:moveTo>
                        <a:pt x="2177" y="281240"/>
                      </a:moveTo>
                      <a:cubicBezTo>
                        <a:pt x="291" y="247666"/>
                        <a:pt x="-1595" y="214093"/>
                        <a:pt x="2177" y="199758"/>
                      </a:cubicBezTo>
                      <a:cubicBezTo>
                        <a:pt x="5949" y="185423"/>
                        <a:pt x="17266" y="194478"/>
                        <a:pt x="24810" y="195232"/>
                      </a:cubicBezTo>
                      <a:cubicBezTo>
                        <a:pt x="32354" y="195986"/>
                        <a:pt x="42917" y="191459"/>
                        <a:pt x="47444" y="204285"/>
                      </a:cubicBezTo>
                      <a:cubicBezTo>
                        <a:pt x="51971" y="217111"/>
                        <a:pt x="51971" y="272186"/>
                        <a:pt x="51971" y="272186"/>
                      </a:cubicBezTo>
                      <a:lnTo>
                        <a:pt x="51971" y="272186"/>
                      </a:lnTo>
                      <a:lnTo>
                        <a:pt x="83658" y="276713"/>
                      </a:lnTo>
                      <a:lnTo>
                        <a:pt x="83658" y="276713"/>
                      </a:lnTo>
                      <a:lnTo>
                        <a:pt x="137978" y="367248"/>
                      </a:lnTo>
                      <a:lnTo>
                        <a:pt x="137978" y="367248"/>
                      </a:lnTo>
                      <a:cubicBezTo>
                        <a:pt x="137224" y="438167"/>
                        <a:pt x="133452" y="792760"/>
                        <a:pt x="133452" y="792760"/>
                      </a:cubicBezTo>
                      <a:lnTo>
                        <a:pt x="133452" y="792760"/>
                      </a:lnTo>
                      <a:lnTo>
                        <a:pt x="174192" y="792760"/>
                      </a:lnTo>
                      <a:lnTo>
                        <a:pt x="174192" y="792760"/>
                      </a:lnTo>
                      <a:lnTo>
                        <a:pt x="201353" y="824448"/>
                      </a:lnTo>
                      <a:lnTo>
                        <a:pt x="201353" y="824448"/>
                      </a:lnTo>
                      <a:lnTo>
                        <a:pt x="309994" y="824448"/>
                      </a:lnTo>
                      <a:lnTo>
                        <a:pt x="309994" y="824448"/>
                      </a:lnTo>
                      <a:lnTo>
                        <a:pt x="309994" y="217865"/>
                      </a:lnTo>
                      <a:lnTo>
                        <a:pt x="309994" y="217865"/>
                      </a:lnTo>
                      <a:lnTo>
                        <a:pt x="391476" y="113751"/>
                      </a:lnTo>
                      <a:lnTo>
                        <a:pt x="391476" y="113751"/>
                      </a:lnTo>
                      <a:cubicBezTo>
                        <a:pt x="392230" y="96399"/>
                        <a:pt x="392984" y="27743"/>
                        <a:pt x="396002" y="9636"/>
                      </a:cubicBezTo>
                      <a:cubicBezTo>
                        <a:pt x="399020" y="-8471"/>
                        <a:pt x="404301" y="4355"/>
                        <a:pt x="409582" y="5109"/>
                      </a:cubicBezTo>
                      <a:cubicBezTo>
                        <a:pt x="414863" y="5863"/>
                        <a:pt x="423917" y="4354"/>
                        <a:pt x="427689" y="14162"/>
                      </a:cubicBezTo>
                      <a:cubicBezTo>
                        <a:pt x="431461" y="23970"/>
                        <a:pt x="430707" y="45096"/>
                        <a:pt x="432216" y="63957"/>
                      </a:cubicBezTo>
                      <a:cubicBezTo>
                        <a:pt x="433725" y="82818"/>
                        <a:pt x="436743" y="127331"/>
                        <a:pt x="436743" y="127331"/>
                      </a:cubicBezTo>
                      <a:lnTo>
                        <a:pt x="436743" y="127331"/>
                      </a:lnTo>
                      <a:lnTo>
                        <a:pt x="522751" y="217865"/>
                      </a:lnTo>
                      <a:lnTo>
                        <a:pt x="522751" y="217865"/>
                      </a:lnTo>
                      <a:lnTo>
                        <a:pt x="527277" y="321980"/>
                      </a:lnTo>
                      <a:lnTo>
                        <a:pt x="527277" y="321980"/>
                      </a:lnTo>
                      <a:lnTo>
                        <a:pt x="595178" y="326507"/>
                      </a:lnTo>
                      <a:lnTo>
                        <a:pt x="595178" y="326507"/>
                      </a:lnTo>
                      <a:cubicBezTo>
                        <a:pt x="595932" y="355176"/>
                        <a:pt x="599705" y="498523"/>
                        <a:pt x="599705" y="498523"/>
                      </a:cubicBezTo>
                      <a:lnTo>
                        <a:pt x="599705" y="498523"/>
                      </a:lnTo>
                      <a:lnTo>
                        <a:pt x="672133" y="503050"/>
                      </a:lnTo>
                      <a:lnTo>
                        <a:pt x="672133" y="503050"/>
                      </a:lnTo>
                      <a:cubicBezTo>
                        <a:pt x="672888" y="553599"/>
                        <a:pt x="676660" y="806341"/>
                        <a:pt x="676660" y="806341"/>
                      </a:cubicBezTo>
                      <a:lnTo>
                        <a:pt x="676660" y="806341"/>
                      </a:lnTo>
                      <a:lnTo>
                        <a:pt x="708347" y="806341"/>
                      </a:lnTo>
                      <a:lnTo>
                        <a:pt x="708347" y="806341"/>
                      </a:lnTo>
                      <a:cubicBezTo>
                        <a:pt x="709101" y="782953"/>
                        <a:pt x="712874" y="666012"/>
                        <a:pt x="712874" y="666012"/>
                      </a:cubicBezTo>
                      <a:lnTo>
                        <a:pt x="712874" y="666012"/>
                      </a:lnTo>
                      <a:lnTo>
                        <a:pt x="726454" y="638852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2" name="任意多边形 51"/>
                <p:cNvSpPr/>
                <p:nvPr/>
              </p:nvSpPr>
              <p:spPr>
                <a:xfrm>
                  <a:off x="7310673" y="4011531"/>
                  <a:ext cx="348559" cy="1723839"/>
                </a:xfrm>
                <a:custGeom>
                  <a:avLst/>
                  <a:gdLst>
                    <a:gd name="connsiteX0" fmla="*/ 9054 w 348559"/>
                    <a:gd name="connsiteY0" fmla="*/ 1723839 h 1723839"/>
                    <a:gd name="connsiteX1" fmla="*/ 0 w 348559"/>
                    <a:gd name="connsiteY1" fmla="*/ 1225899 h 1723839"/>
                    <a:gd name="connsiteX2" fmla="*/ 0 w 348559"/>
                    <a:gd name="connsiteY2" fmla="*/ 1225899 h 1723839"/>
                    <a:gd name="connsiteX3" fmla="*/ 22634 w 348559"/>
                    <a:gd name="connsiteY3" fmla="*/ 1203265 h 1723839"/>
                    <a:gd name="connsiteX4" fmla="*/ 22634 w 348559"/>
                    <a:gd name="connsiteY4" fmla="*/ 1203265 h 1723839"/>
                    <a:gd name="connsiteX5" fmla="*/ 27161 w 348559"/>
                    <a:gd name="connsiteY5" fmla="*/ 886394 h 1723839"/>
                    <a:gd name="connsiteX6" fmla="*/ 27161 w 348559"/>
                    <a:gd name="connsiteY6" fmla="*/ 886394 h 1723839"/>
                    <a:gd name="connsiteX7" fmla="*/ 40741 w 348559"/>
                    <a:gd name="connsiteY7" fmla="*/ 854707 h 1723839"/>
                    <a:gd name="connsiteX8" fmla="*/ 40741 w 348559"/>
                    <a:gd name="connsiteY8" fmla="*/ 854707 h 1723839"/>
                    <a:gd name="connsiteX9" fmla="*/ 40741 w 348559"/>
                    <a:gd name="connsiteY9" fmla="*/ 542362 h 1723839"/>
                    <a:gd name="connsiteX10" fmla="*/ 40741 w 348559"/>
                    <a:gd name="connsiteY10" fmla="*/ 542362 h 1723839"/>
                    <a:gd name="connsiteX11" fmla="*/ 58848 w 348559"/>
                    <a:gd name="connsiteY11" fmla="*/ 519728 h 1723839"/>
                    <a:gd name="connsiteX12" fmla="*/ 58848 w 348559"/>
                    <a:gd name="connsiteY12" fmla="*/ 519728 h 1723839"/>
                    <a:gd name="connsiteX13" fmla="*/ 58848 w 348559"/>
                    <a:gd name="connsiteY13" fmla="*/ 343186 h 1723839"/>
                    <a:gd name="connsiteX14" fmla="*/ 58848 w 348559"/>
                    <a:gd name="connsiteY14" fmla="*/ 343186 h 1723839"/>
                    <a:gd name="connsiteX15" fmla="*/ 172016 w 348559"/>
                    <a:gd name="connsiteY15" fmla="*/ 180223 h 1723839"/>
                    <a:gd name="connsiteX16" fmla="*/ 172016 w 348559"/>
                    <a:gd name="connsiteY16" fmla="*/ 180223 h 1723839"/>
                    <a:gd name="connsiteX17" fmla="*/ 172016 w 348559"/>
                    <a:gd name="connsiteY17" fmla="*/ 94216 h 1723839"/>
                    <a:gd name="connsiteX18" fmla="*/ 172016 w 348559"/>
                    <a:gd name="connsiteY18" fmla="*/ 94216 h 1723839"/>
                    <a:gd name="connsiteX19" fmla="*/ 190123 w 348559"/>
                    <a:gd name="connsiteY19" fmla="*/ 76109 h 1723839"/>
                    <a:gd name="connsiteX20" fmla="*/ 190123 w 348559"/>
                    <a:gd name="connsiteY20" fmla="*/ 76109 h 1723839"/>
                    <a:gd name="connsiteX21" fmla="*/ 190123 w 348559"/>
                    <a:gd name="connsiteY21" fmla="*/ 8208 h 1723839"/>
                    <a:gd name="connsiteX22" fmla="*/ 208230 w 348559"/>
                    <a:gd name="connsiteY22" fmla="*/ 3681 h 1723839"/>
                    <a:gd name="connsiteX23" fmla="*/ 221810 w 348559"/>
                    <a:gd name="connsiteY23" fmla="*/ 30841 h 1723839"/>
                    <a:gd name="connsiteX24" fmla="*/ 221810 w 348559"/>
                    <a:gd name="connsiteY24" fmla="*/ 85162 h 1723839"/>
                    <a:gd name="connsiteX25" fmla="*/ 230864 w 348559"/>
                    <a:gd name="connsiteY25" fmla="*/ 94216 h 1723839"/>
                    <a:gd name="connsiteX26" fmla="*/ 230864 w 348559"/>
                    <a:gd name="connsiteY26" fmla="*/ 180223 h 1723839"/>
                    <a:gd name="connsiteX27" fmla="*/ 230864 w 348559"/>
                    <a:gd name="connsiteY27" fmla="*/ 180223 h 1723839"/>
                    <a:gd name="connsiteX28" fmla="*/ 334978 w 348559"/>
                    <a:gd name="connsiteY28" fmla="*/ 352239 h 1723839"/>
                    <a:gd name="connsiteX29" fmla="*/ 334978 w 348559"/>
                    <a:gd name="connsiteY29" fmla="*/ 352239 h 1723839"/>
                    <a:gd name="connsiteX30" fmla="*/ 334978 w 348559"/>
                    <a:gd name="connsiteY30" fmla="*/ 524255 h 1723839"/>
                    <a:gd name="connsiteX31" fmla="*/ 334978 w 348559"/>
                    <a:gd name="connsiteY31" fmla="*/ 524255 h 1723839"/>
                    <a:gd name="connsiteX32" fmla="*/ 348559 w 348559"/>
                    <a:gd name="connsiteY32" fmla="*/ 551416 h 1723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348559" h="1723839">
                      <a:moveTo>
                        <a:pt x="9054" y="1723839"/>
                      </a:moveTo>
                      <a:lnTo>
                        <a:pt x="0" y="1225899"/>
                      </a:lnTo>
                      <a:lnTo>
                        <a:pt x="0" y="1225899"/>
                      </a:lnTo>
                      <a:lnTo>
                        <a:pt x="22634" y="1203265"/>
                      </a:lnTo>
                      <a:lnTo>
                        <a:pt x="22634" y="1203265"/>
                      </a:lnTo>
                      <a:cubicBezTo>
                        <a:pt x="23388" y="1150453"/>
                        <a:pt x="27161" y="886394"/>
                        <a:pt x="27161" y="886394"/>
                      </a:cubicBezTo>
                      <a:lnTo>
                        <a:pt x="27161" y="886394"/>
                      </a:lnTo>
                      <a:lnTo>
                        <a:pt x="40741" y="854707"/>
                      </a:lnTo>
                      <a:lnTo>
                        <a:pt x="40741" y="854707"/>
                      </a:lnTo>
                      <a:lnTo>
                        <a:pt x="40741" y="542362"/>
                      </a:lnTo>
                      <a:lnTo>
                        <a:pt x="40741" y="542362"/>
                      </a:lnTo>
                      <a:lnTo>
                        <a:pt x="58848" y="519728"/>
                      </a:lnTo>
                      <a:lnTo>
                        <a:pt x="58848" y="519728"/>
                      </a:lnTo>
                      <a:lnTo>
                        <a:pt x="58848" y="343186"/>
                      </a:lnTo>
                      <a:lnTo>
                        <a:pt x="58848" y="343186"/>
                      </a:lnTo>
                      <a:lnTo>
                        <a:pt x="172016" y="180223"/>
                      </a:lnTo>
                      <a:lnTo>
                        <a:pt x="172016" y="180223"/>
                      </a:lnTo>
                      <a:lnTo>
                        <a:pt x="172016" y="94216"/>
                      </a:lnTo>
                      <a:lnTo>
                        <a:pt x="172016" y="94216"/>
                      </a:lnTo>
                      <a:lnTo>
                        <a:pt x="190123" y="76109"/>
                      </a:lnTo>
                      <a:lnTo>
                        <a:pt x="190123" y="76109"/>
                      </a:lnTo>
                      <a:cubicBezTo>
                        <a:pt x="190123" y="64792"/>
                        <a:pt x="187105" y="20279"/>
                        <a:pt x="190123" y="8208"/>
                      </a:cubicBezTo>
                      <a:cubicBezTo>
                        <a:pt x="193141" y="-3863"/>
                        <a:pt x="202949" y="-91"/>
                        <a:pt x="208230" y="3681"/>
                      </a:cubicBezTo>
                      <a:cubicBezTo>
                        <a:pt x="213511" y="7453"/>
                        <a:pt x="219547" y="17261"/>
                        <a:pt x="221810" y="30841"/>
                      </a:cubicBezTo>
                      <a:cubicBezTo>
                        <a:pt x="224073" y="44421"/>
                        <a:pt x="220301" y="74599"/>
                        <a:pt x="221810" y="85162"/>
                      </a:cubicBezTo>
                      <a:cubicBezTo>
                        <a:pt x="223319" y="95724"/>
                        <a:pt x="229355" y="78373"/>
                        <a:pt x="230864" y="94216"/>
                      </a:cubicBezTo>
                      <a:cubicBezTo>
                        <a:pt x="232373" y="110059"/>
                        <a:pt x="230864" y="180223"/>
                        <a:pt x="230864" y="180223"/>
                      </a:cubicBezTo>
                      <a:lnTo>
                        <a:pt x="230864" y="180223"/>
                      </a:lnTo>
                      <a:lnTo>
                        <a:pt x="334978" y="352239"/>
                      </a:lnTo>
                      <a:lnTo>
                        <a:pt x="334978" y="352239"/>
                      </a:lnTo>
                      <a:lnTo>
                        <a:pt x="334978" y="524255"/>
                      </a:lnTo>
                      <a:lnTo>
                        <a:pt x="334978" y="524255"/>
                      </a:lnTo>
                      <a:lnTo>
                        <a:pt x="348559" y="551416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3" name="任意多边形 52"/>
                <p:cNvSpPr/>
                <p:nvPr/>
              </p:nvSpPr>
              <p:spPr>
                <a:xfrm>
                  <a:off x="7663758" y="4558420"/>
                  <a:ext cx="131276" cy="1032095"/>
                </a:xfrm>
                <a:custGeom>
                  <a:avLst/>
                  <a:gdLst>
                    <a:gd name="connsiteX0" fmla="*/ 0 w 131276"/>
                    <a:gd name="connsiteY0" fmla="*/ 0 h 1032095"/>
                    <a:gd name="connsiteX1" fmla="*/ 4527 w 131276"/>
                    <a:gd name="connsiteY1" fmla="*/ 312344 h 1032095"/>
                    <a:gd name="connsiteX2" fmla="*/ 4527 w 131276"/>
                    <a:gd name="connsiteY2" fmla="*/ 312344 h 1032095"/>
                    <a:gd name="connsiteX3" fmla="*/ 9054 w 131276"/>
                    <a:gd name="connsiteY3" fmla="*/ 348558 h 1032095"/>
                    <a:gd name="connsiteX4" fmla="*/ 9054 w 131276"/>
                    <a:gd name="connsiteY4" fmla="*/ 348558 h 1032095"/>
                    <a:gd name="connsiteX5" fmla="*/ 9054 w 131276"/>
                    <a:gd name="connsiteY5" fmla="*/ 647323 h 1032095"/>
                    <a:gd name="connsiteX6" fmla="*/ 9054 w 131276"/>
                    <a:gd name="connsiteY6" fmla="*/ 647323 h 1032095"/>
                    <a:gd name="connsiteX7" fmla="*/ 27161 w 131276"/>
                    <a:gd name="connsiteY7" fmla="*/ 688063 h 1032095"/>
                    <a:gd name="connsiteX8" fmla="*/ 27161 w 131276"/>
                    <a:gd name="connsiteY8" fmla="*/ 688063 h 1032095"/>
                    <a:gd name="connsiteX9" fmla="*/ 22634 w 131276"/>
                    <a:gd name="connsiteY9" fmla="*/ 982301 h 1032095"/>
                    <a:gd name="connsiteX10" fmla="*/ 22634 w 131276"/>
                    <a:gd name="connsiteY10" fmla="*/ 982301 h 1032095"/>
                    <a:gd name="connsiteX11" fmla="*/ 76955 w 131276"/>
                    <a:gd name="connsiteY11" fmla="*/ 982301 h 1032095"/>
                    <a:gd name="connsiteX12" fmla="*/ 76955 w 131276"/>
                    <a:gd name="connsiteY12" fmla="*/ 982301 h 1032095"/>
                    <a:gd name="connsiteX13" fmla="*/ 90535 w 131276"/>
                    <a:gd name="connsiteY13" fmla="*/ 1027568 h 1032095"/>
                    <a:gd name="connsiteX14" fmla="*/ 90535 w 131276"/>
                    <a:gd name="connsiteY14" fmla="*/ 1027568 h 1032095"/>
                    <a:gd name="connsiteX15" fmla="*/ 131276 w 131276"/>
                    <a:gd name="connsiteY15" fmla="*/ 1032095 h 1032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31276" h="1032095">
                      <a:moveTo>
                        <a:pt x="0" y="0"/>
                      </a:moveTo>
                      <a:lnTo>
                        <a:pt x="4527" y="312344"/>
                      </a:lnTo>
                      <a:lnTo>
                        <a:pt x="4527" y="312344"/>
                      </a:lnTo>
                      <a:lnTo>
                        <a:pt x="9054" y="348558"/>
                      </a:lnTo>
                      <a:lnTo>
                        <a:pt x="9054" y="348558"/>
                      </a:lnTo>
                      <a:lnTo>
                        <a:pt x="9054" y="647323"/>
                      </a:lnTo>
                      <a:lnTo>
                        <a:pt x="9054" y="647323"/>
                      </a:lnTo>
                      <a:lnTo>
                        <a:pt x="27161" y="688063"/>
                      </a:lnTo>
                      <a:lnTo>
                        <a:pt x="27161" y="688063"/>
                      </a:lnTo>
                      <a:cubicBezTo>
                        <a:pt x="26407" y="737103"/>
                        <a:pt x="22634" y="982301"/>
                        <a:pt x="22634" y="982301"/>
                      </a:cubicBezTo>
                      <a:lnTo>
                        <a:pt x="22634" y="982301"/>
                      </a:lnTo>
                      <a:lnTo>
                        <a:pt x="76955" y="982301"/>
                      </a:lnTo>
                      <a:lnTo>
                        <a:pt x="76955" y="982301"/>
                      </a:lnTo>
                      <a:lnTo>
                        <a:pt x="90535" y="1027568"/>
                      </a:lnTo>
                      <a:lnTo>
                        <a:pt x="90535" y="1027568"/>
                      </a:lnTo>
                      <a:lnTo>
                        <a:pt x="131276" y="1032095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4" name="任意多边形 53"/>
                <p:cNvSpPr/>
                <p:nvPr/>
              </p:nvSpPr>
              <p:spPr>
                <a:xfrm>
                  <a:off x="7799560" y="3960891"/>
                  <a:ext cx="633743" cy="1901228"/>
                </a:xfrm>
                <a:custGeom>
                  <a:avLst/>
                  <a:gdLst>
                    <a:gd name="connsiteX0" fmla="*/ 0 w 633743"/>
                    <a:gd name="connsiteY0" fmla="*/ 1634151 h 1901228"/>
                    <a:gd name="connsiteX1" fmla="*/ 0 w 633743"/>
                    <a:gd name="connsiteY1" fmla="*/ 1697525 h 1901228"/>
                    <a:gd name="connsiteX2" fmla="*/ 0 w 633743"/>
                    <a:gd name="connsiteY2" fmla="*/ 1697525 h 1901228"/>
                    <a:gd name="connsiteX3" fmla="*/ 45268 w 633743"/>
                    <a:gd name="connsiteY3" fmla="*/ 1706578 h 1901228"/>
                    <a:gd name="connsiteX4" fmla="*/ 45268 w 633743"/>
                    <a:gd name="connsiteY4" fmla="*/ 1706578 h 1901228"/>
                    <a:gd name="connsiteX5" fmla="*/ 49794 w 633743"/>
                    <a:gd name="connsiteY5" fmla="*/ 1810693 h 1901228"/>
                    <a:gd name="connsiteX6" fmla="*/ 49794 w 633743"/>
                    <a:gd name="connsiteY6" fmla="*/ 1810693 h 1901228"/>
                    <a:gd name="connsiteX7" fmla="*/ 104115 w 633743"/>
                    <a:gd name="connsiteY7" fmla="*/ 1779006 h 1901228"/>
                    <a:gd name="connsiteX8" fmla="*/ 104115 w 633743"/>
                    <a:gd name="connsiteY8" fmla="*/ 1779006 h 1901228"/>
                    <a:gd name="connsiteX9" fmla="*/ 108642 w 633743"/>
                    <a:gd name="connsiteY9" fmla="*/ 0 h 1901228"/>
                    <a:gd name="connsiteX10" fmla="*/ 108642 w 633743"/>
                    <a:gd name="connsiteY10" fmla="*/ 0 h 1901228"/>
                    <a:gd name="connsiteX11" fmla="*/ 357612 w 633743"/>
                    <a:gd name="connsiteY11" fmla="*/ 36214 h 1901228"/>
                    <a:gd name="connsiteX12" fmla="*/ 357612 w 633743"/>
                    <a:gd name="connsiteY12" fmla="*/ 36214 h 1901228"/>
                    <a:gd name="connsiteX13" fmla="*/ 353086 w 633743"/>
                    <a:gd name="connsiteY13" fmla="*/ 1901228 h 1901228"/>
                    <a:gd name="connsiteX14" fmla="*/ 353086 w 633743"/>
                    <a:gd name="connsiteY14" fmla="*/ 1901228 h 1901228"/>
                    <a:gd name="connsiteX15" fmla="*/ 452674 w 633743"/>
                    <a:gd name="connsiteY15" fmla="*/ 1883121 h 1901228"/>
                    <a:gd name="connsiteX16" fmla="*/ 452674 w 633743"/>
                    <a:gd name="connsiteY16" fmla="*/ 1883121 h 1901228"/>
                    <a:gd name="connsiteX17" fmla="*/ 452674 w 633743"/>
                    <a:gd name="connsiteY17" fmla="*/ 1584357 h 1901228"/>
                    <a:gd name="connsiteX18" fmla="*/ 452674 w 633743"/>
                    <a:gd name="connsiteY18" fmla="*/ 1584357 h 1901228"/>
                    <a:gd name="connsiteX19" fmla="*/ 633743 w 633743"/>
                    <a:gd name="connsiteY19" fmla="*/ 1566250 h 1901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33743" h="1901228">
                      <a:moveTo>
                        <a:pt x="0" y="1634151"/>
                      </a:moveTo>
                      <a:lnTo>
                        <a:pt x="0" y="1697525"/>
                      </a:lnTo>
                      <a:lnTo>
                        <a:pt x="0" y="1697525"/>
                      </a:lnTo>
                      <a:lnTo>
                        <a:pt x="45268" y="1706578"/>
                      </a:lnTo>
                      <a:lnTo>
                        <a:pt x="45268" y="1706578"/>
                      </a:lnTo>
                      <a:lnTo>
                        <a:pt x="49794" y="1810693"/>
                      </a:lnTo>
                      <a:lnTo>
                        <a:pt x="49794" y="1810693"/>
                      </a:lnTo>
                      <a:lnTo>
                        <a:pt x="104115" y="1779006"/>
                      </a:lnTo>
                      <a:lnTo>
                        <a:pt x="104115" y="1779006"/>
                      </a:lnTo>
                      <a:cubicBezTo>
                        <a:pt x="104870" y="1482505"/>
                        <a:pt x="108642" y="0"/>
                        <a:pt x="108642" y="0"/>
                      </a:cubicBezTo>
                      <a:lnTo>
                        <a:pt x="108642" y="0"/>
                      </a:lnTo>
                      <a:lnTo>
                        <a:pt x="357612" y="36214"/>
                      </a:lnTo>
                      <a:lnTo>
                        <a:pt x="357612" y="36214"/>
                      </a:lnTo>
                      <a:cubicBezTo>
                        <a:pt x="356858" y="347050"/>
                        <a:pt x="353086" y="1901228"/>
                        <a:pt x="353086" y="1901228"/>
                      </a:cubicBezTo>
                      <a:lnTo>
                        <a:pt x="353086" y="1901228"/>
                      </a:lnTo>
                      <a:lnTo>
                        <a:pt x="452674" y="1883121"/>
                      </a:lnTo>
                      <a:lnTo>
                        <a:pt x="452674" y="1883121"/>
                      </a:lnTo>
                      <a:lnTo>
                        <a:pt x="452674" y="1584357"/>
                      </a:lnTo>
                      <a:lnTo>
                        <a:pt x="452674" y="1584357"/>
                      </a:lnTo>
                      <a:lnTo>
                        <a:pt x="633743" y="1566250"/>
                      </a:lnTo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5" name="任意多边形 54"/>
                <p:cNvSpPr/>
                <p:nvPr/>
              </p:nvSpPr>
              <p:spPr>
                <a:xfrm>
                  <a:off x="7971576" y="4060479"/>
                  <a:ext cx="113169" cy="95062"/>
                </a:xfrm>
                <a:custGeom>
                  <a:avLst/>
                  <a:gdLst>
                    <a:gd name="connsiteX0" fmla="*/ 0 w 113169"/>
                    <a:gd name="connsiteY0" fmla="*/ 0 h 95062"/>
                    <a:gd name="connsiteX1" fmla="*/ 0 w 113169"/>
                    <a:gd name="connsiteY1" fmla="*/ 95062 h 95062"/>
                    <a:gd name="connsiteX2" fmla="*/ 0 w 113169"/>
                    <a:gd name="connsiteY2" fmla="*/ 95062 h 95062"/>
                    <a:gd name="connsiteX3" fmla="*/ 108642 w 113169"/>
                    <a:gd name="connsiteY3" fmla="*/ 86008 h 95062"/>
                    <a:gd name="connsiteX4" fmla="*/ 108642 w 113169"/>
                    <a:gd name="connsiteY4" fmla="*/ 86008 h 95062"/>
                    <a:gd name="connsiteX5" fmla="*/ 113169 w 113169"/>
                    <a:gd name="connsiteY5" fmla="*/ 0 h 95062"/>
                    <a:gd name="connsiteX6" fmla="*/ 113169 w 113169"/>
                    <a:gd name="connsiteY6" fmla="*/ 0 h 95062"/>
                    <a:gd name="connsiteX7" fmla="*/ 0 w 113169"/>
                    <a:gd name="connsiteY7" fmla="*/ 0 h 95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3169" h="95062">
                      <a:moveTo>
                        <a:pt x="0" y="0"/>
                      </a:moveTo>
                      <a:lnTo>
                        <a:pt x="0" y="95062"/>
                      </a:lnTo>
                      <a:lnTo>
                        <a:pt x="0" y="95062"/>
                      </a:lnTo>
                      <a:lnTo>
                        <a:pt x="108642" y="86008"/>
                      </a:lnTo>
                      <a:lnTo>
                        <a:pt x="108642" y="86008"/>
                      </a:lnTo>
                      <a:cubicBezTo>
                        <a:pt x="109396" y="71673"/>
                        <a:pt x="113169" y="0"/>
                        <a:pt x="113169" y="0"/>
                      </a:cubicBezTo>
                      <a:lnTo>
                        <a:pt x="11316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12700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D1FC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39" name="任意多边形 38"/>
              <p:cNvSpPr/>
              <p:nvPr/>
            </p:nvSpPr>
            <p:spPr>
              <a:xfrm>
                <a:off x="8444285" y="5534108"/>
                <a:ext cx="747423" cy="365760"/>
              </a:xfrm>
              <a:custGeom>
                <a:avLst/>
                <a:gdLst>
                  <a:gd name="connsiteX0" fmla="*/ 0 w 747423"/>
                  <a:gd name="connsiteY0" fmla="*/ 0 h 365760"/>
                  <a:gd name="connsiteX1" fmla="*/ 0 w 747423"/>
                  <a:gd name="connsiteY1" fmla="*/ 365760 h 365760"/>
                  <a:gd name="connsiteX2" fmla="*/ 0 w 747423"/>
                  <a:gd name="connsiteY2" fmla="*/ 365760 h 365760"/>
                  <a:gd name="connsiteX3" fmla="*/ 222637 w 747423"/>
                  <a:gd name="connsiteY3" fmla="*/ 349857 h 365760"/>
                  <a:gd name="connsiteX4" fmla="*/ 500932 w 747423"/>
                  <a:gd name="connsiteY4" fmla="*/ 349857 h 365760"/>
                  <a:gd name="connsiteX5" fmla="*/ 747423 w 747423"/>
                  <a:gd name="connsiteY5" fmla="*/ 365760 h 365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7423" h="365760">
                    <a:moveTo>
                      <a:pt x="0" y="0"/>
                    </a:moveTo>
                    <a:lnTo>
                      <a:pt x="0" y="365760"/>
                    </a:lnTo>
                    <a:lnTo>
                      <a:pt x="0" y="365760"/>
                    </a:lnTo>
                    <a:cubicBezTo>
                      <a:pt x="37106" y="363110"/>
                      <a:pt x="139148" y="352508"/>
                      <a:pt x="222637" y="349857"/>
                    </a:cubicBezTo>
                    <a:cubicBezTo>
                      <a:pt x="306126" y="347206"/>
                      <a:pt x="413468" y="347207"/>
                      <a:pt x="500932" y="349857"/>
                    </a:cubicBezTo>
                    <a:cubicBezTo>
                      <a:pt x="588396" y="352507"/>
                      <a:pt x="667909" y="359133"/>
                      <a:pt x="747423" y="36576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D1FC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36" name="任意多边形 35"/>
            <p:cNvSpPr/>
            <p:nvPr/>
          </p:nvSpPr>
          <p:spPr>
            <a:xfrm>
              <a:off x="8420431" y="5414838"/>
              <a:ext cx="723569" cy="23854"/>
            </a:xfrm>
            <a:custGeom>
              <a:avLst/>
              <a:gdLst>
                <a:gd name="connsiteX0" fmla="*/ 0 w 723569"/>
                <a:gd name="connsiteY0" fmla="*/ 23854 h 23854"/>
                <a:gd name="connsiteX1" fmla="*/ 254442 w 723569"/>
                <a:gd name="connsiteY1" fmla="*/ 0 h 23854"/>
                <a:gd name="connsiteX2" fmla="*/ 556592 w 723569"/>
                <a:gd name="connsiteY2" fmla="*/ 7952 h 23854"/>
                <a:gd name="connsiteX3" fmla="*/ 723569 w 723569"/>
                <a:gd name="connsiteY3" fmla="*/ 23854 h 23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3569" h="23854">
                  <a:moveTo>
                    <a:pt x="0" y="23854"/>
                  </a:moveTo>
                  <a:cubicBezTo>
                    <a:pt x="80838" y="13252"/>
                    <a:pt x="161677" y="2650"/>
                    <a:pt x="254442" y="0"/>
                  </a:cubicBezTo>
                  <a:lnTo>
                    <a:pt x="556592" y="7952"/>
                  </a:lnTo>
                  <a:cubicBezTo>
                    <a:pt x="634780" y="11928"/>
                    <a:pt x="679174" y="17891"/>
                    <a:pt x="723569" y="23854"/>
                  </a:cubicBezTo>
                </a:path>
              </a:pathLst>
            </a:custGeom>
            <a:noFill/>
            <a:ln w="3810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D1FC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7" name="任意多边形 36"/>
            <p:cNvSpPr/>
            <p:nvPr/>
          </p:nvSpPr>
          <p:spPr>
            <a:xfrm>
              <a:off x="-7951" y="5597718"/>
              <a:ext cx="818984" cy="55659"/>
            </a:xfrm>
            <a:custGeom>
              <a:avLst/>
              <a:gdLst>
                <a:gd name="connsiteX0" fmla="*/ 818984 w 818984"/>
                <a:gd name="connsiteY0" fmla="*/ 0 h 55659"/>
                <a:gd name="connsiteX1" fmla="*/ 0 w 818984"/>
                <a:gd name="connsiteY1" fmla="*/ 55659 h 55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8984" h="55659">
                  <a:moveTo>
                    <a:pt x="818984" y="0"/>
                  </a:moveTo>
                  <a:lnTo>
                    <a:pt x="0" y="55659"/>
                  </a:lnTo>
                </a:path>
              </a:pathLst>
            </a:custGeom>
            <a:noFill/>
            <a:ln w="3810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D1FC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59" name="Text Box 54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2108418" y="3443539"/>
            <a:ext cx="3699521" cy="5683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96" tIns="45697" rIns="91396" bIns="45697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  http://www.hikvision.com </a:t>
            </a:r>
          </a:p>
        </p:txBody>
      </p:sp>
      <p:grpSp>
        <p:nvGrpSpPr>
          <p:cNvPr id="65" name="组合 64"/>
          <p:cNvGrpSpPr>
            <a:grpSpLocks noChangeAspect="1"/>
          </p:cNvGrpSpPr>
          <p:nvPr userDrawn="1"/>
        </p:nvGrpSpPr>
        <p:grpSpPr>
          <a:xfrm>
            <a:off x="1657347" y="3547066"/>
            <a:ext cx="396000" cy="319354"/>
            <a:chOff x="2482850" y="17463"/>
            <a:chExt cx="442913" cy="357188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66" name="Freeform 14"/>
            <p:cNvSpPr/>
            <p:nvPr/>
          </p:nvSpPr>
          <p:spPr bwMode="auto">
            <a:xfrm>
              <a:off x="2482850" y="17463"/>
              <a:ext cx="442913" cy="204788"/>
            </a:xfrm>
            <a:custGeom>
              <a:avLst/>
              <a:gdLst>
                <a:gd name="T0" fmla="*/ 553 w 558"/>
                <a:gd name="T1" fmla="*/ 229 h 257"/>
                <a:gd name="T2" fmla="*/ 354 w 558"/>
                <a:gd name="T3" fmla="*/ 30 h 257"/>
                <a:gd name="T4" fmla="*/ 354 w 558"/>
                <a:gd name="T5" fmla="*/ 30 h 257"/>
                <a:gd name="T6" fmla="*/ 346 w 558"/>
                <a:gd name="T7" fmla="*/ 24 h 257"/>
                <a:gd name="T8" fmla="*/ 339 w 558"/>
                <a:gd name="T9" fmla="*/ 17 h 257"/>
                <a:gd name="T10" fmla="*/ 329 w 558"/>
                <a:gd name="T11" fmla="*/ 12 h 257"/>
                <a:gd name="T12" fmla="*/ 320 w 558"/>
                <a:gd name="T13" fmla="*/ 7 h 257"/>
                <a:gd name="T14" fmla="*/ 310 w 558"/>
                <a:gd name="T15" fmla="*/ 3 h 257"/>
                <a:gd name="T16" fmla="*/ 300 w 558"/>
                <a:gd name="T17" fmla="*/ 1 h 257"/>
                <a:gd name="T18" fmla="*/ 290 w 558"/>
                <a:gd name="T19" fmla="*/ 0 h 257"/>
                <a:gd name="T20" fmla="*/ 280 w 558"/>
                <a:gd name="T21" fmla="*/ 0 h 257"/>
                <a:gd name="T22" fmla="*/ 280 w 558"/>
                <a:gd name="T23" fmla="*/ 0 h 257"/>
                <a:gd name="T24" fmla="*/ 268 w 558"/>
                <a:gd name="T25" fmla="*/ 0 h 257"/>
                <a:gd name="T26" fmla="*/ 258 w 558"/>
                <a:gd name="T27" fmla="*/ 1 h 257"/>
                <a:gd name="T28" fmla="*/ 248 w 558"/>
                <a:gd name="T29" fmla="*/ 3 h 257"/>
                <a:gd name="T30" fmla="*/ 238 w 558"/>
                <a:gd name="T31" fmla="*/ 7 h 257"/>
                <a:gd name="T32" fmla="*/ 229 w 558"/>
                <a:gd name="T33" fmla="*/ 12 h 257"/>
                <a:gd name="T34" fmla="*/ 220 w 558"/>
                <a:gd name="T35" fmla="*/ 17 h 257"/>
                <a:gd name="T36" fmla="*/ 212 w 558"/>
                <a:gd name="T37" fmla="*/ 24 h 257"/>
                <a:gd name="T38" fmla="*/ 204 w 558"/>
                <a:gd name="T39" fmla="*/ 30 h 257"/>
                <a:gd name="T40" fmla="*/ 169 w 558"/>
                <a:gd name="T41" fmla="*/ 65 h 257"/>
                <a:gd name="T42" fmla="*/ 169 w 558"/>
                <a:gd name="T43" fmla="*/ 17 h 257"/>
                <a:gd name="T44" fmla="*/ 84 w 558"/>
                <a:gd name="T45" fmla="*/ 17 h 257"/>
                <a:gd name="T46" fmla="*/ 84 w 558"/>
                <a:gd name="T47" fmla="*/ 151 h 257"/>
                <a:gd name="T48" fmla="*/ 5 w 558"/>
                <a:gd name="T49" fmla="*/ 229 h 257"/>
                <a:gd name="T50" fmla="*/ 5 w 558"/>
                <a:gd name="T51" fmla="*/ 229 h 257"/>
                <a:gd name="T52" fmla="*/ 1 w 558"/>
                <a:gd name="T53" fmla="*/ 234 h 257"/>
                <a:gd name="T54" fmla="*/ 0 w 558"/>
                <a:gd name="T55" fmla="*/ 240 h 257"/>
                <a:gd name="T56" fmla="*/ 1 w 558"/>
                <a:gd name="T57" fmla="*/ 247 h 257"/>
                <a:gd name="T58" fmla="*/ 5 w 558"/>
                <a:gd name="T59" fmla="*/ 252 h 257"/>
                <a:gd name="T60" fmla="*/ 5 w 558"/>
                <a:gd name="T61" fmla="*/ 252 h 257"/>
                <a:gd name="T62" fmla="*/ 10 w 558"/>
                <a:gd name="T63" fmla="*/ 255 h 257"/>
                <a:gd name="T64" fmla="*/ 16 w 558"/>
                <a:gd name="T65" fmla="*/ 257 h 257"/>
                <a:gd name="T66" fmla="*/ 23 w 558"/>
                <a:gd name="T67" fmla="*/ 255 h 257"/>
                <a:gd name="T68" fmla="*/ 29 w 558"/>
                <a:gd name="T69" fmla="*/ 252 h 257"/>
                <a:gd name="T70" fmla="*/ 227 w 558"/>
                <a:gd name="T71" fmla="*/ 54 h 257"/>
                <a:gd name="T72" fmla="*/ 227 w 558"/>
                <a:gd name="T73" fmla="*/ 54 h 257"/>
                <a:gd name="T74" fmla="*/ 238 w 558"/>
                <a:gd name="T75" fmla="*/ 45 h 257"/>
                <a:gd name="T76" fmla="*/ 251 w 558"/>
                <a:gd name="T77" fmla="*/ 37 h 257"/>
                <a:gd name="T78" fmla="*/ 265 w 558"/>
                <a:gd name="T79" fmla="*/ 34 h 257"/>
                <a:gd name="T80" fmla="*/ 280 w 558"/>
                <a:gd name="T81" fmla="*/ 32 h 257"/>
                <a:gd name="T82" fmla="*/ 280 w 558"/>
                <a:gd name="T83" fmla="*/ 32 h 257"/>
                <a:gd name="T84" fmla="*/ 293 w 558"/>
                <a:gd name="T85" fmla="*/ 34 h 257"/>
                <a:gd name="T86" fmla="*/ 307 w 558"/>
                <a:gd name="T87" fmla="*/ 37 h 257"/>
                <a:gd name="T88" fmla="*/ 320 w 558"/>
                <a:gd name="T89" fmla="*/ 45 h 257"/>
                <a:gd name="T90" fmla="*/ 331 w 558"/>
                <a:gd name="T91" fmla="*/ 54 h 257"/>
                <a:gd name="T92" fmla="*/ 530 w 558"/>
                <a:gd name="T93" fmla="*/ 252 h 257"/>
                <a:gd name="T94" fmla="*/ 530 w 558"/>
                <a:gd name="T95" fmla="*/ 252 h 257"/>
                <a:gd name="T96" fmla="*/ 535 w 558"/>
                <a:gd name="T97" fmla="*/ 255 h 257"/>
                <a:gd name="T98" fmla="*/ 542 w 558"/>
                <a:gd name="T99" fmla="*/ 257 h 257"/>
                <a:gd name="T100" fmla="*/ 548 w 558"/>
                <a:gd name="T101" fmla="*/ 255 h 257"/>
                <a:gd name="T102" fmla="*/ 553 w 558"/>
                <a:gd name="T103" fmla="*/ 252 h 257"/>
                <a:gd name="T104" fmla="*/ 553 w 558"/>
                <a:gd name="T105" fmla="*/ 252 h 257"/>
                <a:gd name="T106" fmla="*/ 557 w 558"/>
                <a:gd name="T107" fmla="*/ 247 h 257"/>
                <a:gd name="T108" fmla="*/ 558 w 558"/>
                <a:gd name="T109" fmla="*/ 240 h 257"/>
                <a:gd name="T110" fmla="*/ 557 w 558"/>
                <a:gd name="T111" fmla="*/ 234 h 257"/>
                <a:gd name="T112" fmla="*/ 553 w 558"/>
                <a:gd name="T113" fmla="*/ 229 h 257"/>
                <a:gd name="T114" fmla="*/ 553 w 558"/>
                <a:gd name="T115" fmla="*/ 2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8" h="257">
                  <a:moveTo>
                    <a:pt x="553" y="229"/>
                  </a:moveTo>
                  <a:lnTo>
                    <a:pt x="354" y="30"/>
                  </a:lnTo>
                  <a:lnTo>
                    <a:pt x="354" y="30"/>
                  </a:lnTo>
                  <a:lnTo>
                    <a:pt x="346" y="24"/>
                  </a:lnTo>
                  <a:lnTo>
                    <a:pt x="339" y="17"/>
                  </a:lnTo>
                  <a:lnTo>
                    <a:pt x="329" y="12"/>
                  </a:lnTo>
                  <a:lnTo>
                    <a:pt x="320" y="7"/>
                  </a:lnTo>
                  <a:lnTo>
                    <a:pt x="310" y="3"/>
                  </a:lnTo>
                  <a:lnTo>
                    <a:pt x="300" y="1"/>
                  </a:lnTo>
                  <a:lnTo>
                    <a:pt x="290" y="0"/>
                  </a:lnTo>
                  <a:lnTo>
                    <a:pt x="280" y="0"/>
                  </a:lnTo>
                  <a:lnTo>
                    <a:pt x="280" y="0"/>
                  </a:lnTo>
                  <a:lnTo>
                    <a:pt x="268" y="0"/>
                  </a:lnTo>
                  <a:lnTo>
                    <a:pt x="258" y="1"/>
                  </a:lnTo>
                  <a:lnTo>
                    <a:pt x="248" y="3"/>
                  </a:lnTo>
                  <a:lnTo>
                    <a:pt x="238" y="7"/>
                  </a:lnTo>
                  <a:lnTo>
                    <a:pt x="229" y="12"/>
                  </a:lnTo>
                  <a:lnTo>
                    <a:pt x="220" y="17"/>
                  </a:lnTo>
                  <a:lnTo>
                    <a:pt x="212" y="24"/>
                  </a:lnTo>
                  <a:lnTo>
                    <a:pt x="204" y="30"/>
                  </a:lnTo>
                  <a:lnTo>
                    <a:pt x="169" y="65"/>
                  </a:lnTo>
                  <a:lnTo>
                    <a:pt x="169" y="17"/>
                  </a:lnTo>
                  <a:lnTo>
                    <a:pt x="84" y="17"/>
                  </a:lnTo>
                  <a:lnTo>
                    <a:pt x="84" y="151"/>
                  </a:lnTo>
                  <a:lnTo>
                    <a:pt x="5" y="229"/>
                  </a:lnTo>
                  <a:lnTo>
                    <a:pt x="5" y="229"/>
                  </a:lnTo>
                  <a:lnTo>
                    <a:pt x="1" y="234"/>
                  </a:lnTo>
                  <a:lnTo>
                    <a:pt x="0" y="240"/>
                  </a:lnTo>
                  <a:lnTo>
                    <a:pt x="1" y="247"/>
                  </a:lnTo>
                  <a:lnTo>
                    <a:pt x="5" y="252"/>
                  </a:lnTo>
                  <a:lnTo>
                    <a:pt x="5" y="252"/>
                  </a:lnTo>
                  <a:lnTo>
                    <a:pt x="10" y="255"/>
                  </a:lnTo>
                  <a:lnTo>
                    <a:pt x="16" y="257"/>
                  </a:lnTo>
                  <a:lnTo>
                    <a:pt x="23" y="255"/>
                  </a:lnTo>
                  <a:lnTo>
                    <a:pt x="29" y="252"/>
                  </a:lnTo>
                  <a:lnTo>
                    <a:pt x="227" y="54"/>
                  </a:lnTo>
                  <a:lnTo>
                    <a:pt x="227" y="54"/>
                  </a:lnTo>
                  <a:lnTo>
                    <a:pt x="238" y="45"/>
                  </a:lnTo>
                  <a:lnTo>
                    <a:pt x="251" y="37"/>
                  </a:lnTo>
                  <a:lnTo>
                    <a:pt x="265" y="34"/>
                  </a:lnTo>
                  <a:lnTo>
                    <a:pt x="280" y="32"/>
                  </a:lnTo>
                  <a:lnTo>
                    <a:pt x="280" y="32"/>
                  </a:lnTo>
                  <a:lnTo>
                    <a:pt x="293" y="34"/>
                  </a:lnTo>
                  <a:lnTo>
                    <a:pt x="307" y="37"/>
                  </a:lnTo>
                  <a:lnTo>
                    <a:pt x="320" y="45"/>
                  </a:lnTo>
                  <a:lnTo>
                    <a:pt x="331" y="54"/>
                  </a:lnTo>
                  <a:lnTo>
                    <a:pt x="530" y="252"/>
                  </a:lnTo>
                  <a:lnTo>
                    <a:pt x="530" y="252"/>
                  </a:lnTo>
                  <a:lnTo>
                    <a:pt x="535" y="255"/>
                  </a:lnTo>
                  <a:lnTo>
                    <a:pt x="542" y="257"/>
                  </a:lnTo>
                  <a:lnTo>
                    <a:pt x="548" y="255"/>
                  </a:lnTo>
                  <a:lnTo>
                    <a:pt x="553" y="252"/>
                  </a:lnTo>
                  <a:lnTo>
                    <a:pt x="553" y="252"/>
                  </a:lnTo>
                  <a:lnTo>
                    <a:pt x="557" y="247"/>
                  </a:lnTo>
                  <a:lnTo>
                    <a:pt x="558" y="240"/>
                  </a:lnTo>
                  <a:lnTo>
                    <a:pt x="557" y="234"/>
                  </a:lnTo>
                  <a:lnTo>
                    <a:pt x="553" y="229"/>
                  </a:lnTo>
                  <a:lnTo>
                    <a:pt x="553" y="2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 panose="02010609060101010101" pitchFamily="2" charset="-122"/>
                <a:cs typeface="+mn-cs"/>
              </a:endParaRPr>
            </a:p>
          </p:txBody>
        </p:sp>
        <p:sp>
          <p:nvSpPr>
            <p:cNvPr id="67" name="Freeform 15"/>
            <p:cNvSpPr/>
            <p:nvPr/>
          </p:nvSpPr>
          <p:spPr bwMode="auto">
            <a:xfrm>
              <a:off x="2543175" y="65088"/>
              <a:ext cx="322263" cy="309563"/>
            </a:xfrm>
            <a:custGeom>
              <a:avLst/>
              <a:gdLst>
                <a:gd name="T0" fmla="*/ 249 w 404"/>
                <a:gd name="T1" fmla="*/ 20 h 389"/>
                <a:gd name="T2" fmla="*/ 249 w 404"/>
                <a:gd name="T3" fmla="*/ 20 h 389"/>
                <a:gd name="T4" fmla="*/ 239 w 404"/>
                <a:gd name="T5" fmla="*/ 11 h 389"/>
                <a:gd name="T6" fmla="*/ 228 w 404"/>
                <a:gd name="T7" fmla="*/ 5 h 389"/>
                <a:gd name="T8" fmla="*/ 215 w 404"/>
                <a:gd name="T9" fmla="*/ 1 h 389"/>
                <a:gd name="T10" fmla="*/ 203 w 404"/>
                <a:gd name="T11" fmla="*/ 0 h 389"/>
                <a:gd name="T12" fmla="*/ 203 w 404"/>
                <a:gd name="T13" fmla="*/ 0 h 389"/>
                <a:gd name="T14" fmla="*/ 189 w 404"/>
                <a:gd name="T15" fmla="*/ 1 h 389"/>
                <a:gd name="T16" fmla="*/ 177 w 404"/>
                <a:gd name="T17" fmla="*/ 5 h 389"/>
                <a:gd name="T18" fmla="*/ 166 w 404"/>
                <a:gd name="T19" fmla="*/ 11 h 389"/>
                <a:gd name="T20" fmla="*/ 156 w 404"/>
                <a:gd name="T21" fmla="*/ 20 h 389"/>
                <a:gd name="T22" fmla="*/ 0 w 404"/>
                <a:gd name="T23" fmla="*/ 175 h 389"/>
                <a:gd name="T24" fmla="*/ 0 w 404"/>
                <a:gd name="T25" fmla="*/ 354 h 389"/>
                <a:gd name="T26" fmla="*/ 0 w 404"/>
                <a:gd name="T27" fmla="*/ 354 h 389"/>
                <a:gd name="T28" fmla="*/ 1 w 404"/>
                <a:gd name="T29" fmla="*/ 360 h 389"/>
                <a:gd name="T30" fmla="*/ 2 w 404"/>
                <a:gd name="T31" fmla="*/ 367 h 389"/>
                <a:gd name="T32" fmla="*/ 6 w 404"/>
                <a:gd name="T33" fmla="*/ 373 h 389"/>
                <a:gd name="T34" fmla="*/ 10 w 404"/>
                <a:gd name="T35" fmla="*/ 378 h 389"/>
                <a:gd name="T36" fmla="*/ 16 w 404"/>
                <a:gd name="T37" fmla="*/ 383 h 389"/>
                <a:gd name="T38" fmla="*/ 21 w 404"/>
                <a:gd name="T39" fmla="*/ 385 h 389"/>
                <a:gd name="T40" fmla="*/ 29 w 404"/>
                <a:gd name="T41" fmla="*/ 388 h 389"/>
                <a:gd name="T42" fmla="*/ 35 w 404"/>
                <a:gd name="T43" fmla="*/ 389 h 389"/>
                <a:gd name="T44" fmla="*/ 122 w 404"/>
                <a:gd name="T45" fmla="*/ 389 h 389"/>
                <a:gd name="T46" fmla="*/ 122 w 404"/>
                <a:gd name="T47" fmla="*/ 283 h 389"/>
                <a:gd name="T48" fmla="*/ 122 w 404"/>
                <a:gd name="T49" fmla="*/ 283 h 389"/>
                <a:gd name="T50" fmla="*/ 122 w 404"/>
                <a:gd name="T51" fmla="*/ 278 h 389"/>
                <a:gd name="T52" fmla="*/ 123 w 404"/>
                <a:gd name="T53" fmla="*/ 275 h 389"/>
                <a:gd name="T54" fmla="*/ 126 w 404"/>
                <a:gd name="T55" fmla="*/ 271 h 389"/>
                <a:gd name="T56" fmla="*/ 128 w 404"/>
                <a:gd name="T57" fmla="*/ 267 h 389"/>
                <a:gd name="T58" fmla="*/ 132 w 404"/>
                <a:gd name="T59" fmla="*/ 264 h 389"/>
                <a:gd name="T60" fmla="*/ 136 w 404"/>
                <a:gd name="T61" fmla="*/ 262 h 389"/>
                <a:gd name="T62" fmla="*/ 140 w 404"/>
                <a:gd name="T63" fmla="*/ 261 h 389"/>
                <a:gd name="T64" fmla="*/ 145 w 404"/>
                <a:gd name="T65" fmla="*/ 259 h 389"/>
                <a:gd name="T66" fmla="*/ 259 w 404"/>
                <a:gd name="T67" fmla="*/ 259 h 389"/>
                <a:gd name="T68" fmla="*/ 259 w 404"/>
                <a:gd name="T69" fmla="*/ 259 h 389"/>
                <a:gd name="T70" fmla="*/ 264 w 404"/>
                <a:gd name="T71" fmla="*/ 261 h 389"/>
                <a:gd name="T72" fmla="*/ 268 w 404"/>
                <a:gd name="T73" fmla="*/ 262 h 389"/>
                <a:gd name="T74" fmla="*/ 272 w 404"/>
                <a:gd name="T75" fmla="*/ 264 h 389"/>
                <a:gd name="T76" fmla="*/ 276 w 404"/>
                <a:gd name="T77" fmla="*/ 267 h 389"/>
                <a:gd name="T78" fmla="*/ 278 w 404"/>
                <a:gd name="T79" fmla="*/ 271 h 389"/>
                <a:gd name="T80" fmla="*/ 281 w 404"/>
                <a:gd name="T81" fmla="*/ 275 h 389"/>
                <a:gd name="T82" fmla="*/ 282 w 404"/>
                <a:gd name="T83" fmla="*/ 278 h 389"/>
                <a:gd name="T84" fmla="*/ 283 w 404"/>
                <a:gd name="T85" fmla="*/ 283 h 389"/>
                <a:gd name="T86" fmla="*/ 283 w 404"/>
                <a:gd name="T87" fmla="*/ 389 h 389"/>
                <a:gd name="T88" fmla="*/ 369 w 404"/>
                <a:gd name="T89" fmla="*/ 389 h 389"/>
                <a:gd name="T90" fmla="*/ 369 w 404"/>
                <a:gd name="T91" fmla="*/ 389 h 389"/>
                <a:gd name="T92" fmla="*/ 376 w 404"/>
                <a:gd name="T93" fmla="*/ 388 h 389"/>
                <a:gd name="T94" fmla="*/ 383 w 404"/>
                <a:gd name="T95" fmla="*/ 385 h 389"/>
                <a:gd name="T96" fmla="*/ 389 w 404"/>
                <a:gd name="T97" fmla="*/ 383 h 389"/>
                <a:gd name="T98" fmla="*/ 394 w 404"/>
                <a:gd name="T99" fmla="*/ 378 h 389"/>
                <a:gd name="T100" fmla="*/ 398 w 404"/>
                <a:gd name="T101" fmla="*/ 373 h 389"/>
                <a:gd name="T102" fmla="*/ 402 w 404"/>
                <a:gd name="T103" fmla="*/ 367 h 389"/>
                <a:gd name="T104" fmla="*/ 403 w 404"/>
                <a:gd name="T105" fmla="*/ 360 h 389"/>
                <a:gd name="T106" fmla="*/ 404 w 404"/>
                <a:gd name="T107" fmla="*/ 354 h 389"/>
                <a:gd name="T108" fmla="*/ 404 w 404"/>
                <a:gd name="T109" fmla="*/ 175 h 389"/>
                <a:gd name="T110" fmla="*/ 249 w 404"/>
                <a:gd name="T111" fmla="*/ 2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4" h="389">
                  <a:moveTo>
                    <a:pt x="249" y="20"/>
                  </a:moveTo>
                  <a:lnTo>
                    <a:pt x="249" y="20"/>
                  </a:lnTo>
                  <a:lnTo>
                    <a:pt x="239" y="11"/>
                  </a:lnTo>
                  <a:lnTo>
                    <a:pt x="228" y="5"/>
                  </a:lnTo>
                  <a:lnTo>
                    <a:pt x="215" y="1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189" y="1"/>
                  </a:lnTo>
                  <a:lnTo>
                    <a:pt x="177" y="5"/>
                  </a:lnTo>
                  <a:lnTo>
                    <a:pt x="166" y="11"/>
                  </a:lnTo>
                  <a:lnTo>
                    <a:pt x="156" y="20"/>
                  </a:lnTo>
                  <a:lnTo>
                    <a:pt x="0" y="175"/>
                  </a:lnTo>
                  <a:lnTo>
                    <a:pt x="0" y="354"/>
                  </a:lnTo>
                  <a:lnTo>
                    <a:pt x="0" y="354"/>
                  </a:lnTo>
                  <a:lnTo>
                    <a:pt x="1" y="360"/>
                  </a:lnTo>
                  <a:lnTo>
                    <a:pt x="2" y="367"/>
                  </a:lnTo>
                  <a:lnTo>
                    <a:pt x="6" y="373"/>
                  </a:lnTo>
                  <a:lnTo>
                    <a:pt x="10" y="378"/>
                  </a:lnTo>
                  <a:lnTo>
                    <a:pt x="16" y="383"/>
                  </a:lnTo>
                  <a:lnTo>
                    <a:pt x="21" y="385"/>
                  </a:lnTo>
                  <a:lnTo>
                    <a:pt x="29" y="388"/>
                  </a:lnTo>
                  <a:lnTo>
                    <a:pt x="35" y="389"/>
                  </a:lnTo>
                  <a:lnTo>
                    <a:pt x="122" y="389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78"/>
                  </a:lnTo>
                  <a:lnTo>
                    <a:pt x="123" y="275"/>
                  </a:lnTo>
                  <a:lnTo>
                    <a:pt x="126" y="271"/>
                  </a:lnTo>
                  <a:lnTo>
                    <a:pt x="128" y="267"/>
                  </a:lnTo>
                  <a:lnTo>
                    <a:pt x="132" y="264"/>
                  </a:lnTo>
                  <a:lnTo>
                    <a:pt x="136" y="262"/>
                  </a:lnTo>
                  <a:lnTo>
                    <a:pt x="140" y="261"/>
                  </a:lnTo>
                  <a:lnTo>
                    <a:pt x="145" y="259"/>
                  </a:lnTo>
                  <a:lnTo>
                    <a:pt x="259" y="259"/>
                  </a:lnTo>
                  <a:lnTo>
                    <a:pt x="259" y="259"/>
                  </a:lnTo>
                  <a:lnTo>
                    <a:pt x="264" y="261"/>
                  </a:lnTo>
                  <a:lnTo>
                    <a:pt x="268" y="262"/>
                  </a:lnTo>
                  <a:lnTo>
                    <a:pt x="272" y="264"/>
                  </a:lnTo>
                  <a:lnTo>
                    <a:pt x="276" y="267"/>
                  </a:lnTo>
                  <a:lnTo>
                    <a:pt x="278" y="271"/>
                  </a:lnTo>
                  <a:lnTo>
                    <a:pt x="281" y="275"/>
                  </a:lnTo>
                  <a:lnTo>
                    <a:pt x="282" y="278"/>
                  </a:lnTo>
                  <a:lnTo>
                    <a:pt x="283" y="283"/>
                  </a:lnTo>
                  <a:lnTo>
                    <a:pt x="283" y="389"/>
                  </a:lnTo>
                  <a:lnTo>
                    <a:pt x="369" y="389"/>
                  </a:lnTo>
                  <a:lnTo>
                    <a:pt x="369" y="389"/>
                  </a:lnTo>
                  <a:lnTo>
                    <a:pt x="376" y="388"/>
                  </a:lnTo>
                  <a:lnTo>
                    <a:pt x="383" y="385"/>
                  </a:lnTo>
                  <a:lnTo>
                    <a:pt x="389" y="383"/>
                  </a:lnTo>
                  <a:lnTo>
                    <a:pt x="394" y="378"/>
                  </a:lnTo>
                  <a:lnTo>
                    <a:pt x="398" y="373"/>
                  </a:lnTo>
                  <a:lnTo>
                    <a:pt x="402" y="367"/>
                  </a:lnTo>
                  <a:lnTo>
                    <a:pt x="403" y="360"/>
                  </a:lnTo>
                  <a:lnTo>
                    <a:pt x="404" y="354"/>
                  </a:lnTo>
                  <a:lnTo>
                    <a:pt x="404" y="175"/>
                  </a:lnTo>
                  <a:lnTo>
                    <a:pt x="249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 panose="02010609060101010101" pitchFamily="2" charset="-122"/>
                <a:cs typeface="+mn-cs"/>
              </a:endParaRPr>
            </a:p>
          </p:txBody>
        </p:sp>
      </p:grp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正文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478653" y="0"/>
            <a:ext cx="162000" cy="847166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黑体" panose="02010609060101010101" pitchFamily="2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80349" y="242048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黑体" panose="02010609060101010101" pitchFamily="2" charset="-122"/>
              <a:ea typeface="黑体" panose="02010609060101010101" pitchFamily="2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904240" y="309516"/>
            <a:ext cx="8648594" cy="3838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kumimoji="0" lang="zh-CN" altLang="en-US" sz="2400" b="1" i="0" u="none" strike="noStrike" kern="1200" cap="none" spc="150" normalizeH="0" baseline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黑体" panose="02010609060101010101" pitchFamily="2" charset="-122"/>
                <a:ea typeface="黑体" panose="02010609060101010101" pitchFamily="2" charset="-122"/>
                <a:cs typeface="+mn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7" y="379619"/>
            <a:ext cx="1584000" cy="206162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正文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478653" y="0"/>
            <a:ext cx="162000" cy="847166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黑体" panose="02010609060101010101" pitchFamily="2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80349" y="242048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黑体" panose="02010609060101010101" pitchFamily="2" charset="-122"/>
              <a:ea typeface="黑体" panose="02010609060101010101" pitchFamily="2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904240" y="309516"/>
            <a:ext cx="8648594" cy="3838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kumimoji="0" lang="zh-CN" altLang="en-US" sz="2400" b="1" i="0" u="none" strike="noStrike" kern="1200" cap="none" spc="150" normalizeH="0" baseline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黑体" panose="02010609060101010101" pitchFamily="2" charset="-122"/>
                <a:ea typeface="黑体" panose="02010609060101010101" pitchFamily="2" charset="-122"/>
                <a:cs typeface="+mn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7" y="379619"/>
            <a:ext cx="1584000" cy="206162"/>
          </a:xfrm>
          <a:prstGeom prst="rect">
            <a:avLst/>
          </a:prstGeom>
        </p:spPr>
      </p:pic>
      <p:sp>
        <p:nvSpPr>
          <p:cNvPr id="8" name="内容占位符 2"/>
          <p:cNvSpPr>
            <a:spLocks noGrp="1"/>
          </p:cNvSpPr>
          <p:nvPr>
            <p:ph idx="1"/>
          </p:nvPr>
        </p:nvSpPr>
        <p:spPr>
          <a:xfrm>
            <a:off x="478644" y="1124744"/>
            <a:ext cx="11090676" cy="532844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4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15" name="矩形 14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正文页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478653" y="0"/>
            <a:ext cx="162000" cy="847166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黑体" panose="02010609060101010101" pitchFamily="2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80349" y="242048"/>
            <a:ext cx="161366" cy="605118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黑体" panose="02010609060101010101" pitchFamily="2" charset="-122"/>
              <a:ea typeface="黑体" panose="02010609060101010101" pitchFamily="2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904240" y="309516"/>
            <a:ext cx="8648594" cy="38382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kumimoji="0" lang="zh-CN" altLang="en-US" sz="2400" b="1" i="0" u="none" strike="noStrike" kern="1200" cap="none" spc="150" normalizeH="0" baseline="0" dirty="0">
                <a:ln>
                  <a:noFill/>
                </a:ln>
                <a:solidFill>
                  <a:srgbClr val="D7000F"/>
                </a:solidFill>
                <a:effectLst/>
                <a:uLnTx/>
                <a:uFillTx/>
                <a:latin typeface="黑体" panose="02010609060101010101" pitchFamily="2" charset="-122"/>
                <a:ea typeface="黑体" panose="02010609060101010101" pitchFamily="2" charset="-122"/>
                <a:cs typeface="+mn-cs"/>
              </a:defRPr>
            </a:lvl1pPr>
          </a:lstStyle>
          <a:p>
            <a:pPr marL="0" marR="0" lvl="0" indent="0" algn="l" defTabSz="913765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7" y="379619"/>
            <a:ext cx="1584000" cy="206162"/>
          </a:xfrm>
          <a:prstGeom prst="rect">
            <a:avLst/>
          </a:prstGeom>
        </p:spPr>
      </p:pic>
      <p:sp>
        <p:nvSpPr>
          <p:cNvPr id="17" name="内容占位符 2"/>
          <p:cNvSpPr>
            <a:spLocks noGrp="1"/>
          </p:cNvSpPr>
          <p:nvPr>
            <p:ph idx="1"/>
          </p:nvPr>
        </p:nvSpPr>
        <p:spPr>
          <a:xfrm>
            <a:off x="478644" y="1124744"/>
            <a:ext cx="9074189" cy="532844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4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cxnSp>
        <p:nvCxnSpPr>
          <p:cNvPr id="18" name="直接连接符 17"/>
          <p:cNvCxnSpPr/>
          <p:nvPr userDrawn="1"/>
        </p:nvCxnSpPr>
        <p:spPr>
          <a:xfrm>
            <a:off x="9913889" y="1125278"/>
            <a:ext cx="0" cy="5327358"/>
          </a:xfrm>
          <a:prstGeom prst="line">
            <a:avLst/>
          </a:prstGeom>
          <a:ln>
            <a:solidFill>
              <a:srgbClr val="717171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5" name="矩形 14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1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A82B250-D546-49E2-B77B-68BB642F927D}" type="datetimeFigureOut">
              <a:rPr kumimoji="0" lang="zh-CN" altLang="en-US" sz="2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0/4/26</a:t>
            </a:fld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1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海康威视</a:t>
            </a:r>
            <a:r>
              <a:rPr kumimoji="0" lang="en-US" altLang="zh-CN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|</a:t>
            </a:r>
            <a:r>
              <a:rPr kumimoji="0" lang="zh-CN" alt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楼宇事业部</a:t>
            </a:r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99D9E2F-6B03-4D3F-8B1E-580C45D1A597}" type="slidenum">
              <a:rPr kumimoji="0" lang="zh-CN" altLang="en-US" sz="2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‹#›</a:t>
            </a:fld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" name="矩形 8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1" y="2131486"/>
            <a:ext cx="10363200" cy="1468967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1" y="6356351"/>
            <a:ext cx="2844800" cy="3661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5B54AC5-522E-4C6E-9B07-38BF792465DF}" type="datetimeFigureOut">
              <a:rPr kumimoji="0" lang="zh-CN" altLang="en-US" sz="2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020/4/26</a:t>
            </a:fld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1" y="6356351"/>
            <a:ext cx="3860800" cy="3661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1" y="6356351"/>
            <a:ext cx="2844800" cy="3661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3E7FF66-7364-401C-A2CD-1F138EAF809E}" type="slidenum">
              <a:rPr kumimoji="0" lang="zh-CN" altLang="en-US" sz="2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‹#›</a:t>
            </a:fld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7" y="379620"/>
            <a:ext cx="1584000" cy="20616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607323" y="0"/>
            <a:ext cx="162000" cy="847167"/>
          </a:xfrm>
          <a:prstGeom prst="rect">
            <a:avLst/>
          </a:prstGeom>
          <a:solidFill>
            <a:srgbClr val="71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809026" y="242048"/>
            <a:ext cx="161367" cy="605119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4261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8677" y="379619"/>
            <a:ext cx="1584000" cy="206163"/>
          </a:xfrm>
          <a:prstGeom prst="rect">
            <a:avLst/>
          </a:prstGeom>
        </p:spPr>
      </p:pic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1010096" y="274450"/>
            <a:ext cx="8846574" cy="540314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3" name="矩形 12"/>
          <p:cNvSpPr/>
          <p:nvPr userDrawn="1"/>
        </p:nvSpPr>
        <p:spPr>
          <a:xfrm>
            <a:off x="0" y="6786000"/>
            <a:ext cx="9792000" cy="72000"/>
          </a:xfrm>
          <a:prstGeom prst="rect">
            <a:avLst/>
          </a:prstGeom>
          <a:solidFill>
            <a:srgbClr val="D7000F"/>
          </a:solidFill>
          <a:ln>
            <a:solidFill>
              <a:srgbClr val="C426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矩形 13"/>
          <p:cNvSpPr/>
          <p:nvPr userDrawn="1"/>
        </p:nvSpPr>
        <p:spPr>
          <a:xfrm>
            <a:off x="9838677" y="6786000"/>
            <a:ext cx="2358000" cy="72000"/>
          </a:xfrm>
          <a:prstGeom prst="rect">
            <a:avLst/>
          </a:prstGeom>
          <a:solidFill>
            <a:srgbClr val="717171"/>
          </a:solidFill>
          <a:ln>
            <a:solidFill>
              <a:srgbClr val="615D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marL="0" marR="0" lvl="0" indent="0" algn="ctr" defTabSz="1087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384800" cy="4525433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97600" y="1600201"/>
            <a:ext cx="5384800" cy="4525433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9600" y="1534584"/>
            <a:ext cx="5386917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3200"/>
            </a:lvl1pPr>
            <a:lvl2pPr>
              <a:defRPr sz="2665"/>
            </a:lvl2pPr>
            <a:lvl3pPr>
              <a:defRPr sz="2400"/>
            </a:lvl3pPr>
            <a:lvl4pPr>
              <a:defRPr sz="2135"/>
            </a:lvl4pPr>
            <a:lvl5pPr>
              <a:defRPr sz="2135"/>
            </a:lvl5pPr>
            <a:lvl6pPr>
              <a:defRPr sz="2135"/>
            </a:lvl6pPr>
            <a:lvl7pPr>
              <a:defRPr sz="2135"/>
            </a:lvl7pPr>
            <a:lvl8pPr>
              <a:defRPr sz="2135"/>
            </a:lvl8pPr>
            <a:lvl9pPr>
              <a:defRPr sz="213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534584"/>
            <a:ext cx="5389033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93368" y="2175934"/>
            <a:ext cx="5389033" cy="3949700"/>
          </a:xfrm>
        </p:spPr>
        <p:txBody>
          <a:bodyPr/>
          <a:lstStyle>
            <a:lvl1pPr>
              <a:defRPr sz="3200"/>
            </a:lvl1pPr>
            <a:lvl2pPr>
              <a:defRPr sz="2665"/>
            </a:lvl2pPr>
            <a:lvl3pPr>
              <a:defRPr sz="2400"/>
            </a:lvl3pPr>
            <a:lvl4pPr>
              <a:defRPr sz="2135"/>
            </a:lvl4pPr>
            <a:lvl5pPr>
              <a:defRPr sz="2135"/>
            </a:lvl5pPr>
            <a:lvl6pPr>
              <a:defRPr sz="2135"/>
            </a:lvl6pPr>
            <a:lvl7pPr>
              <a:defRPr sz="2135"/>
            </a:lvl7pPr>
            <a:lvl8pPr>
              <a:defRPr sz="2135"/>
            </a:lvl8pPr>
            <a:lvl9pPr>
              <a:defRPr sz="213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026" name="Picture 2" descr="C:\Users\fanliyuan\Desktop\PPT模板-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99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3052"/>
            <a:ext cx="4011084" cy="1162049"/>
          </a:xfrm>
        </p:spPr>
        <p:txBody>
          <a:bodyPr anchor="b"/>
          <a:lstStyle>
            <a:lvl1pPr algn="l">
              <a:defRPr sz="2665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766733" y="273051"/>
            <a:ext cx="6815667" cy="5852583"/>
          </a:xfrm>
        </p:spPr>
        <p:txBody>
          <a:bodyPr/>
          <a:lstStyle>
            <a:lvl1pPr>
              <a:defRPr sz="4265"/>
            </a:lvl1pPr>
            <a:lvl2pPr>
              <a:defRPr sz="3735"/>
            </a:lvl2pPr>
            <a:lvl3pPr>
              <a:defRPr sz="3200"/>
            </a:lvl3pPr>
            <a:lvl4pPr>
              <a:defRPr sz="2665"/>
            </a:lvl4pPr>
            <a:lvl5pPr>
              <a:defRPr sz="2665"/>
            </a:lvl5pPr>
            <a:lvl6pPr>
              <a:defRPr sz="2665"/>
            </a:lvl6pPr>
            <a:lvl7pPr>
              <a:defRPr sz="2665"/>
            </a:lvl7pPr>
            <a:lvl8pPr>
              <a:defRPr sz="2665"/>
            </a:lvl8pPr>
            <a:lvl9pPr>
              <a:defRPr sz="266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09601" y="1435100"/>
            <a:ext cx="4011084" cy="4690533"/>
          </a:xfrm>
        </p:spPr>
        <p:txBody>
          <a:bodyPr/>
          <a:lstStyle>
            <a:lvl1pPr marL="0" indent="0">
              <a:buNone/>
              <a:defRPr sz="1865"/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7267"/>
          </a:xfrm>
        </p:spPr>
        <p:txBody>
          <a:bodyPr anchor="b"/>
          <a:lstStyle>
            <a:lvl1pPr algn="l">
              <a:defRPr sz="2665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4265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r>
              <a:rPr lang="zh-CN" altLang="en-US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367867"/>
            <a:ext cx="7315200" cy="804333"/>
          </a:xfrm>
        </p:spPr>
        <p:txBody>
          <a:bodyPr/>
          <a:lstStyle>
            <a:lvl1pPr marL="0" indent="0">
              <a:buNone/>
              <a:defRPr sz="1865"/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5167"/>
            <a:ext cx="2743200" cy="5850467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609600" y="275167"/>
            <a:ext cx="8026400" cy="5850467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PBand0"/>
          <p:cNvSpPr>
            <a:spLocks noGrp="1" noChangeArrowheads="1"/>
          </p:cNvSpPr>
          <p:nvPr>
            <p:ph type="ctrTitle"/>
          </p:nvPr>
        </p:nvSpPr>
        <p:spPr>
          <a:xfrm>
            <a:off x="1390651" y="4643438"/>
            <a:ext cx="9563100" cy="5778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副标题 4"/>
          <p:cNvSpPr>
            <a:spLocks noGrp="1"/>
          </p:cNvSpPr>
          <p:nvPr>
            <p:ph type="subTitle" idx="4294967295" hasCustomPrompt="1"/>
          </p:nvPr>
        </p:nvSpPr>
        <p:spPr>
          <a:xfrm>
            <a:off x="2029885" y="5287963"/>
            <a:ext cx="8257116" cy="647700"/>
          </a:xfrm>
        </p:spPr>
        <p:txBody>
          <a:bodyPr/>
          <a:lstStyle/>
          <a:p>
            <a:r>
              <a:rPr lang="zh-CN" altLang="en-US"/>
              <a:t>单击以编辑母版副标题样式</a:t>
            </a:r>
            <a:endParaRPr lang="zh-CN" altLang="en-US" dirty="0"/>
          </a:p>
        </p:txBody>
      </p:sp>
      <p:pic>
        <p:nvPicPr>
          <p:cNvPr id="5" name="Picture 2" descr="C:\Users\fanliyuan\Desktop\PPT模板-2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pull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22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94418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535517" y="1125538"/>
            <a:ext cx="5509683" cy="5327650"/>
          </a:xfrm>
        </p:spPr>
        <p:txBody>
          <a:bodyPr/>
          <a:lstStyle>
            <a:lvl1pPr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248400" y="1125538"/>
            <a:ext cx="5511800" cy="5327650"/>
          </a:xfrm>
        </p:spPr>
        <p:txBody>
          <a:bodyPr/>
          <a:lstStyle>
            <a:lvl1pPr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634082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9600" y="1124744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09600" y="1764506"/>
            <a:ext cx="5386917" cy="47608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124744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93368" y="1764506"/>
            <a:ext cx="5389033" cy="47608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5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5">
                <a:solidFill>
                  <a:schemeClr val="tx1">
                    <a:tint val="75000"/>
                  </a:schemeClr>
                </a:solidFill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960263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766733" y="960264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09601" y="212231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5225752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1037927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792490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953501" y="333376"/>
            <a:ext cx="2806700" cy="611981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527052" y="333376"/>
            <a:ext cx="8223249" cy="6119813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11" hasCustomPrompt="1"/>
          </p:nvPr>
        </p:nvSpPr>
        <p:spPr>
          <a:xfrm>
            <a:off x="381000" y="1143001"/>
            <a:ext cx="11525251" cy="2500313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2" hasCustomPrompt="1"/>
          </p:nvPr>
        </p:nvSpPr>
        <p:spPr>
          <a:xfrm>
            <a:off x="381000" y="3857625"/>
            <a:ext cx="11525251" cy="257175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 hasCustomPrompt="1"/>
          </p:nvPr>
        </p:nvSpPr>
        <p:spPr>
          <a:xfrm>
            <a:off x="527381" y="1341438"/>
            <a:ext cx="11233248" cy="151130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4" hasCustomPrompt="1"/>
          </p:nvPr>
        </p:nvSpPr>
        <p:spPr>
          <a:xfrm>
            <a:off x="527051" y="3284538"/>
            <a:ext cx="11233149" cy="2881312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C:\Documents and Settings\DingQi\桌面\封面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PPBand0"/>
          <p:cNvSpPr>
            <a:spLocks noGrp="1" noChangeArrowheads="1"/>
          </p:cNvSpPr>
          <p:nvPr>
            <p:ph type="ctrTitle"/>
          </p:nvPr>
        </p:nvSpPr>
        <p:spPr>
          <a:xfrm>
            <a:off x="1390651" y="4643438"/>
            <a:ext cx="9563100" cy="5778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副标题 4"/>
          <p:cNvSpPr>
            <a:spLocks noGrp="1"/>
          </p:cNvSpPr>
          <p:nvPr>
            <p:ph type="subTitle" idx="4294967295" hasCustomPrompt="1"/>
          </p:nvPr>
        </p:nvSpPr>
        <p:spPr>
          <a:xfrm>
            <a:off x="2029885" y="5287963"/>
            <a:ext cx="8257116" cy="647700"/>
          </a:xfrm>
        </p:spPr>
        <p:txBody>
          <a:bodyPr/>
          <a:lstStyle/>
          <a:p>
            <a:r>
              <a:rPr lang="zh-CN" altLang="en-US"/>
              <a:t>单击以编辑母版副标题样式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94418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200151"/>
            <a:ext cx="5384800" cy="3394075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97600" y="1200151"/>
            <a:ext cx="5384800" cy="3394075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535517" y="1125538"/>
            <a:ext cx="5509683" cy="5327650"/>
          </a:xfrm>
        </p:spPr>
        <p:txBody>
          <a:bodyPr/>
          <a:lstStyle>
            <a:lvl1pPr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248400" y="1125538"/>
            <a:ext cx="5511800" cy="5327650"/>
          </a:xfrm>
        </p:spPr>
        <p:txBody>
          <a:bodyPr/>
          <a:lstStyle>
            <a:lvl1pPr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634082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9600" y="1124744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09600" y="1764506"/>
            <a:ext cx="5386917" cy="47608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124744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93368" y="1764506"/>
            <a:ext cx="5389033" cy="47608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960263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766733" y="960264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09601" y="212231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5225752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1037927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792490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953501" y="333376"/>
            <a:ext cx="2806700" cy="611981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527052" y="333376"/>
            <a:ext cx="8223249" cy="6119813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11" hasCustomPrompt="1"/>
          </p:nvPr>
        </p:nvSpPr>
        <p:spPr>
          <a:xfrm>
            <a:off x="381000" y="1143001"/>
            <a:ext cx="11525251" cy="2500313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2" hasCustomPrompt="1"/>
          </p:nvPr>
        </p:nvSpPr>
        <p:spPr>
          <a:xfrm>
            <a:off x="381000" y="3857625"/>
            <a:ext cx="11525251" cy="257175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 hasCustomPrompt="1"/>
          </p:nvPr>
        </p:nvSpPr>
        <p:spPr>
          <a:xfrm>
            <a:off x="527381" y="1341438"/>
            <a:ext cx="11233248" cy="151130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4" hasCustomPrompt="1"/>
          </p:nvPr>
        </p:nvSpPr>
        <p:spPr>
          <a:xfrm>
            <a:off x="527051" y="3284538"/>
            <a:ext cx="11233149" cy="2881312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5"/>
            </a:lvl2pPr>
            <a:lvl3pPr>
              <a:defRPr sz="2400"/>
            </a:lvl3pPr>
            <a:lvl4pPr>
              <a:defRPr sz="2135"/>
            </a:lvl4pPr>
            <a:lvl5pPr>
              <a:defRPr sz="2135"/>
            </a:lvl5pPr>
            <a:lvl6pPr>
              <a:defRPr sz="2135"/>
            </a:lvl6pPr>
            <a:lvl7pPr>
              <a:defRPr sz="2135"/>
            </a:lvl7pPr>
            <a:lvl8pPr>
              <a:defRPr sz="2135"/>
            </a:lvl8pPr>
            <a:lvl9pPr>
              <a:defRPr sz="213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5"/>
            </a:lvl2pPr>
            <a:lvl3pPr>
              <a:defRPr sz="2400"/>
            </a:lvl3pPr>
            <a:lvl4pPr>
              <a:defRPr sz="2135"/>
            </a:lvl4pPr>
            <a:lvl5pPr>
              <a:defRPr sz="2135"/>
            </a:lvl5pPr>
            <a:lvl6pPr>
              <a:defRPr sz="2135"/>
            </a:lvl6pPr>
            <a:lvl7pPr>
              <a:defRPr sz="2135"/>
            </a:lvl7pPr>
            <a:lvl8pPr>
              <a:defRPr sz="2135"/>
            </a:lvl8pPr>
            <a:lvl9pPr>
              <a:defRPr sz="213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032438" y="6641976"/>
            <a:ext cx="1632181" cy="21602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075" tIns="46038" rIns="92075" bIns="46038" numCol="1" anchor="t" anchorCtr="0" compatLnSpc="1"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80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643715" y="6641978"/>
            <a:ext cx="527912" cy="216023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>
              <a:defRPr/>
            </a:pPr>
            <a:fld id="{CFF10007-8FCC-43DC-B82D-4AE4189E914C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1" name="標題 1"/>
          <p:cNvSpPr>
            <a:spLocks noGrp="1"/>
          </p:cNvSpPr>
          <p:nvPr>
            <p:ph type="title" hasCustomPrompt="1"/>
          </p:nvPr>
        </p:nvSpPr>
        <p:spPr>
          <a:xfrm>
            <a:off x="527381" y="404664"/>
            <a:ext cx="8502187" cy="384498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单击以编辑母片标题样式</a:t>
            </a:r>
            <a:endParaRPr 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032438" y="6641976"/>
            <a:ext cx="1632181" cy="21602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075" tIns="46038" rIns="92075" bIns="46038" numCol="1" anchor="t" anchorCtr="0" compatLnSpc="1"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80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643715" y="6641978"/>
            <a:ext cx="527912" cy="216023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>
              <a:defRPr/>
            </a:pPr>
            <a:fld id="{CFF10007-8FCC-43DC-B82D-4AE4189E914C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1" name="標題 1"/>
          <p:cNvSpPr>
            <a:spLocks noGrp="1"/>
          </p:cNvSpPr>
          <p:nvPr>
            <p:ph type="title" hasCustomPrompt="1"/>
          </p:nvPr>
        </p:nvSpPr>
        <p:spPr>
          <a:xfrm>
            <a:off x="378123" y="380206"/>
            <a:ext cx="8502187" cy="384498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单击以编辑母片标题样式</a:t>
            </a:r>
            <a:endParaRPr 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3417" y="515939"/>
            <a:ext cx="11582400" cy="8159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表格占位符 2"/>
          <p:cNvSpPr>
            <a:spLocks noGrp="1"/>
          </p:cNvSpPr>
          <p:nvPr>
            <p:ph type="tbl" idx="1" hasCustomPrompt="1"/>
          </p:nvPr>
        </p:nvSpPr>
        <p:spPr>
          <a:xfrm>
            <a:off x="243417" y="1863725"/>
            <a:ext cx="11582400" cy="44910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0"/>
              <a:t>单击图标添加表格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71FACB-E2A5-42D9-9B9C-B938D89F14D9}" type="slidenum">
              <a:rPr lang="zh-CN" altLang="en-US">
                <a:solidFill>
                  <a:srgbClr val="000000"/>
                </a:solidFill>
              </a:r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2072217" y="6548438"/>
            <a:ext cx="7924800" cy="1841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2"/>
          </p:nvPr>
        </p:nvSpPr>
        <p:spPr>
          <a:xfrm>
            <a:off x="732367" y="6548438"/>
            <a:ext cx="1339851" cy="1841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>
              <a:defRPr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B429AE1D-CE17-4592-9A11-04B60E621B0B}" type="datetime1">
              <a:rPr lang="zh-CN" altLang="en-US" smtClean="0">
                <a:solidFill>
                  <a:srgbClr val="000000"/>
                </a:solidFill>
              </a:rPr>
              <a:t>2020/4/26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Line 4"/>
          <p:cNvSpPr>
            <a:spLocks noChangeShapeType="1"/>
          </p:cNvSpPr>
          <p:nvPr/>
        </p:nvSpPr>
        <p:spPr bwMode="auto">
          <a:xfrm flipV="1">
            <a:off x="366185" y="1220788"/>
            <a:ext cx="114596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C:\Documents and Settings\DingQi\桌面\封面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PPBand0"/>
          <p:cNvSpPr>
            <a:spLocks noGrp="1" noChangeArrowheads="1"/>
          </p:cNvSpPr>
          <p:nvPr>
            <p:ph type="ctrTitle"/>
          </p:nvPr>
        </p:nvSpPr>
        <p:spPr>
          <a:xfrm>
            <a:off x="1390651" y="4643438"/>
            <a:ext cx="9563100" cy="5778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副标题 4"/>
          <p:cNvSpPr>
            <a:spLocks noGrp="1"/>
          </p:cNvSpPr>
          <p:nvPr>
            <p:ph type="subTitle" idx="4294967295" hasCustomPrompt="1"/>
          </p:nvPr>
        </p:nvSpPr>
        <p:spPr>
          <a:xfrm>
            <a:off x="2029885" y="5287963"/>
            <a:ext cx="8257116" cy="647700"/>
          </a:xfrm>
        </p:spPr>
        <p:txBody>
          <a:bodyPr/>
          <a:lstStyle/>
          <a:p>
            <a:r>
              <a:rPr lang="zh-CN" altLang="en-US"/>
              <a:t>单击以编辑母版副标题样式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94418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535517" y="1125538"/>
            <a:ext cx="5509683" cy="5327650"/>
          </a:xfrm>
        </p:spPr>
        <p:txBody>
          <a:bodyPr/>
          <a:lstStyle>
            <a:lvl1pPr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248400" y="1125538"/>
            <a:ext cx="5511800" cy="5327650"/>
          </a:xfrm>
        </p:spPr>
        <p:txBody>
          <a:bodyPr/>
          <a:lstStyle>
            <a:lvl1pPr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634082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9600" y="1124744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09600" y="1764506"/>
            <a:ext cx="5386917" cy="47608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124744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93368" y="1764506"/>
            <a:ext cx="5389033" cy="47608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960263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766733" y="960264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09601" y="212231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5225752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1037927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792490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953501" y="333376"/>
            <a:ext cx="2806700" cy="611981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527052" y="333376"/>
            <a:ext cx="8223249" cy="6119813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11" hasCustomPrompt="1"/>
          </p:nvPr>
        </p:nvSpPr>
        <p:spPr>
          <a:xfrm>
            <a:off x="381000" y="1143001"/>
            <a:ext cx="11525251" cy="2500313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2" hasCustomPrompt="1"/>
          </p:nvPr>
        </p:nvSpPr>
        <p:spPr>
          <a:xfrm>
            <a:off x="381000" y="3857625"/>
            <a:ext cx="11525251" cy="257175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 hasCustomPrompt="1"/>
          </p:nvPr>
        </p:nvSpPr>
        <p:spPr>
          <a:xfrm>
            <a:off x="527381" y="1341438"/>
            <a:ext cx="11233248" cy="151130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4" hasCustomPrompt="1"/>
          </p:nvPr>
        </p:nvSpPr>
        <p:spPr>
          <a:xfrm>
            <a:off x="527051" y="3284538"/>
            <a:ext cx="11233149" cy="2881312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032438" y="6641976"/>
            <a:ext cx="1632181" cy="21602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075" tIns="46038" rIns="92075" bIns="46038" numCol="1" anchor="t" anchorCtr="0" compatLnSpc="1"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80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643715" y="6641978"/>
            <a:ext cx="527912" cy="216023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>
              <a:defRPr/>
            </a:pPr>
            <a:fld id="{CFF10007-8FCC-43DC-B82D-4AE4189E914C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1" name="標題 1"/>
          <p:cNvSpPr>
            <a:spLocks noGrp="1"/>
          </p:cNvSpPr>
          <p:nvPr>
            <p:ph type="title" hasCustomPrompt="1"/>
          </p:nvPr>
        </p:nvSpPr>
        <p:spPr>
          <a:xfrm>
            <a:off x="527381" y="404664"/>
            <a:ext cx="8502187" cy="384498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单击以编辑母片标题样式</a:t>
            </a:r>
            <a:endParaRPr 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032438" y="6641976"/>
            <a:ext cx="1632181" cy="21602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075" tIns="46038" rIns="92075" bIns="46038" numCol="1" anchor="t" anchorCtr="0" compatLnSpc="1"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80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643715" y="6641978"/>
            <a:ext cx="527912" cy="216023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>
              <a:defRPr/>
            </a:pPr>
            <a:fld id="{CFF10007-8FCC-43DC-B82D-4AE4189E914C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1" name="標題 1"/>
          <p:cNvSpPr>
            <a:spLocks noGrp="1"/>
          </p:cNvSpPr>
          <p:nvPr>
            <p:ph type="title" hasCustomPrompt="1"/>
          </p:nvPr>
        </p:nvSpPr>
        <p:spPr>
          <a:xfrm>
            <a:off x="378123" y="380206"/>
            <a:ext cx="8502187" cy="384498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单击以编辑母片标题样式</a:t>
            </a:r>
            <a:endParaRPr 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3417" y="515939"/>
            <a:ext cx="11582400" cy="8159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表格占位符 2"/>
          <p:cNvSpPr>
            <a:spLocks noGrp="1"/>
          </p:cNvSpPr>
          <p:nvPr>
            <p:ph type="tbl" idx="1" hasCustomPrompt="1"/>
          </p:nvPr>
        </p:nvSpPr>
        <p:spPr>
          <a:xfrm>
            <a:off x="243417" y="1863725"/>
            <a:ext cx="11582400" cy="44910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0"/>
              <a:t>单击图标添加表格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71FACB-E2A5-42D9-9B9C-B938D89F14D9}" type="slidenum">
              <a:rPr lang="zh-CN" altLang="en-US">
                <a:solidFill>
                  <a:srgbClr val="000000"/>
                </a:solidFill>
              </a:r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2072217" y="6548438"/>
            <a:ext cx="7924800" cy="1841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2"/>
          </p:nvPr>
        </p:nvSpPr>
        <p:spPr>
          <a:xfrm>
            <a:off x="732367" y="6548438"/>
            <a:ext cx="1339851" cy="1841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>
              <a:defRPr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454C60F5-EC26-4492-851B-9AE87457B171}" type="datetime1">
              <a:rPr lang="zh-CN" altLang="en-US" smtClean="0">
                <a:solidFill>
                  <a:srgbClr val="000000"/>
                </a:solidFill>
              </a:rPr>
              <a:t>2020/4/26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Line 4"/>
          <p:cNvSpPr>
            <a:spLocks noChangeShapeType="1"/>
          </p:cNvSpPr>
          <p:nvPr/>
        </p:nvSpPr>
        <p:spPr bwMode="auto">
          <a:xfrm flipV="1">
            <a:off x="366185" y="1220788"/>
            <a:ext cx="114596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C:\Documents and Settings\DingQi\桌面\封面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PPBand0"/>
          <p:cNvSpPr>
            <a:spLocks noGrp="1" noChangeArrowheads="1"/>
          </p:cNvSpPr>
          <p:nvPr>
            <p:ph type="ctrTitle"/>
          </p:nvPr>
        </p:nvSpPr>
        <p:spPr>
          <a:xfrm>
            <a:off x="1390651" y="4643438"/>
            <a:ext cx="9563100" cy="5778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副标题 4"/>
          <p:cNvSpPr>
            <a:spLocks noGrp="1"/>
          </p:cNvSpPr>
          <p:nvPr>
            <p:ph type="subTitle" idx="4294967295" hasCustomPrompt="1"/>
          </p:nvPr>
        </p:nvSpPr>
        <p:spPr>
          <a:xfrm>
            <a:off x="2029885" y="5287963"/>
            <a:ext cx="8257116" cy="647700"/>
          </a:xfrm>
        </p:spPr>
        <p:txBody>
          <a:bodyPr/>
          <a:lstStyle/>
          <a:p>
            <a:r>
              <a:rPr lang="zh-CN" altLang="en-US"/>
              <a:t>单击以编辑母版副标题样式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0997843" y="6494418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535517" y="1125538"/>
            <a:ext cx="5509683" cy="5327650"/>
          </a:xfrm>
        </p:spPr>
        <p:txBody>
          <a:bodyPr/>
          <a:lstStyle>
            <a:lvl1pPr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248400" y="1125538"/>
            <a:ext cx="5511800" cy="5327650"/>
          </a:xfrm>
        </p:spPr>
        <p:txBody>
          <a:bodyPr/>
          <a:lstStyle>
            <a:lvl1pPr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634082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9600" y="1124744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09600" y="1764506"/>
            <a:ext cx="5386917" cy="47608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124744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93368" y="1764506"/>
            <a:ext cx="5389033" cy="47608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0973163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0953095" y="6525344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960263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766733" y="960264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09601" y="212231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5225752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1037927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792490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5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5"/>
            </a:lvl1pPr>
            <a:lvl2pPr>
              <a:defRPr sz="3735"/>
            </a:lvl2pPr>
            <a:lvl3pPr>
              <a:defRPr sz="3200"/>
            </a:lvl3pPr>
            <a:lvl4pPr>
              <a:defRPr sz="2665"/>
            </a:lvl4pPr>
            <a:lvl5pPr>
              <a:defRPr sz="2665"/>
            </a:lvl5pPr>
            <a:lvl6pPr>
              <a:defRPr sz="2665"/>
            </a:lvl6pPr>
            <a:lvl7pPr>
              <a:defRPr sz="2665"/>
            </a:lvl7pPr>
            <a:lvl8pPr>
              <a:defRPr sz="2665"/>
            </a:lvl8pPr>
            <a:lvl9pPr>
              <a:defRPr sz="2665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5"/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953501" y="333376"/>
            <a:ext cx="2806700" cy="611981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527052" y="333376"/>
            <a:ext cx="8223249" cy="6119813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11" hasCustomPrompt="1"/>
          </p:nvPr>
        </p:nvSpPr>
        <p:spPr>
          <a:xfrm>
            <a:off x="381000" y="1143001"/>
            <a:ext cx="11525251" cy="2500313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2" hasCustomPrompt="1"/>
          </p:nvPr>
        </p:nvSpPr>
        <p:spPr>
          <a:xfrm>
            <a:off x="381000" y="3857625"/>
            <a:ext cx="11525251" cy="257175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 hasCustomPrompt="1"/>
          </p:nvPr>
        </p:nvSpPr>
        <p:spPr>
          <a:xfrm>
            <a:off x="527381" y="1341438"/>
            <a:ext cx="11233248" cy="151130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4" hasCustomPrompt="1"/>
          </p:nvPr>
        </p:nvSpPr>
        <p:spPr>
          <a:xfrm>
            <a:off x="527051" y="3284538"/>
            <a:ext cx="11233149" cy="2881312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032438" y="6641976"/>
            <a:ext cx="1632181" cy="21602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075" tIns="46038" rIns="92075" bIns="46038" numCol="1" anchor="t" anchorCtr="0" compatLnSpc="1"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80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643715" y="6641978"/>
            <a:ext cx="527912" cy="216023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>
              <a:defRPr/>
            </a:pPr>
            <a:fld id="{CFF10007-8FCC-43DC-B82D-4AE4189E914C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1" name="標題 1"/>
          <p:cNvSpPr>
            <a:spLocks noGrp="1"/>
          </p:cNvSpPr>
          <p:nvPr>
            <p:ph type="title" hasCustomPrompt="1"/>
          </p:nvPr>
        </p:nvSpPr>
        <p:spPr>
          <a:xfrm>
            <a:off x="527381" y="404664"/>
            <a:ext cx="8502187" cy="384498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单击以编辑母片标题样式</a:t>
            </a:r>
            <a:endParaRPr 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3417" y="515939"/>
            <a:ext cx="11582400" cy="8159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表格占位符 2"/>
          <p:cNvSpPr>
            <a:spLocks noGrp="1"/>
          </p:cNvSpPr>
          <p:nvPr>
            <p:ph type="tbl" idx="1" hasCustomPrompt="1"/>
          </p:nvPr>
        </p:nvSpPr>
        <p:spPr>
          <a:xfrm>
            <a:off x="243417" y="1863725"/>
            <a:ext cx="11582400" cy="44910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0"/>
              <a:t>单击图标添加表格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944695" y="6450013"/>
            <a:ext cx="1218837" cy="381000"/>
          </a:xfrm>
        </p:spPr>
        <p:txBody>
          <a:bodyPr/>
          <a:lstStyle>
            <a:lvl1pPr>
              <a:defRPr/>
            </a:lvl1pPr>
          </a:lstStyle>
          <a:p>
            <a:fld id="{E971FACB-E2A5-42D9-9B9C-B938D89F14D9}" type="slidenum">
              <a:rPr lang="zh-CN" altLang="en-US">
                <a:solidFill>
                  <a:srgbClr val="000000"/>
                </a:solidFill>
              </a:r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2072217" y="6548438"/>
            <a:ext cx="7924800" cy="1841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2"/>
          </p:nvPr>
        </p:nvSpPr>
        <p:spPr>
          <a:xfrm>
            <a:off x="732367" y="6548438"/>
            <a:ext cx="1339851" cy="1841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>
              <a:defRPr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EA2B0C21-AE5F-4394-B657-AFE86E301326}" type="datetime1">
              <a:rPr lang="zh-CN" altLang="en-US" smtClean="0">
                <a:solidFill>
                  <a:srgbClr val="000000"/>
                </a:solidFill>
              </a:rPr>
              <a:t>2020/4/26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Line 4"/>
          <p:cNvSpPr>
            <a:spLocks noChangeShapeType="1"/>
          </p:cNvSpPr>
          <p:nvPr/>
        </p:nvSpPr>
        <p:spPr bwMode="auto">
          <a:xfrm flipV="1">
            <a:off x="366185" y="1220788"/>
            <a:ext cx="114596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内容占位符 2"/>
          <p:cNvSpPr>
            <a:spLocks noGrp="1"/>
          </p:cNvSpPr>
          <p:nvPr>
            <p:ph idx="1" hasCustomPrompt="1"/>
          </p:nvPr>
        </p:nvSpPr>
        <p:spPr>
          <a:xfrm>
            <a:off x="535517" y="1125538"/>
            <a:ext cx="11224683" cy="5327650"/>
          </a:xfrm>
        </p:spPr>
        <p:txBody>
          <a:bodyPr/>
          <a:lstStyle>
            <a:lvl1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C:\Documents and Settings\DingQi\桌面\封面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PPBand0"/>
          <p:cNvSpPr>
            <a:spLocks noGrp="1" noChangeArrowheads="1"/>
          </p:cNvSpPr>
          <p:nvPr>
            <p:ph type="ctrTitle"/>
          </p:nvPr>
        </p:nvSpPr>
        <p:spPr>
          <a:xfrm>
            <a:off x="1390651" y="4643438"/>
            <a:ext cx="9563100" cy="5778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副标题 4"/>
          <p:cNvSpPr>
            <a:spLocks noGrp="1"/>
          </p:cNvSpPr>
          <p:nvPr>
            <p:ph type="subTitle" idx="4294967295" hasCustomPrompt="1"/>
          </p:nvPr>
        </p:nvSpPr>
        <p:spPr>
          <a:xfrm>
            <a:off x="2029885" y="5287963"/>
            <a:ext cx="8257116" cy="647700"/>
          </a:xfrm>
        </p:spPr>
        <p:txBody>
          <a:bodyPr/>
          <a:lstStyle/>
          <a:p>
            <a:r>
              <a:rPr lang="zh-CN" altLang="en-US"/>
              <a:t>单击以编辑母版副标题样式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0992544" y="6481273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5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5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r>
              <a:rPr lang="zh-CN" altLang="en-US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5"/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535517" y="1125538"/>
            <a:ext cx="5509683" cy="5327650"/>
          </a:xfrm>
        </p:spPr>
        <p:txBody>
          <a:bodyPr/>
          <a:lstStyle>
            <a:lvl1pPr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248400" y="1125538"/>
            <a:ext cx="5511800" cy="5327650"/>
          </a:xfrm>
        </p:spPr>
        <p:txBody>
          <a:bodyPr/>
          <a:lstStyle>
            <a:lvl1pPr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800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60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634082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9600" y="1124744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09600" y="1764506"/>
            <a:ext cx="5386917" cy="47608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124744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93368" y="1764506"/>
            <a:ext cx="5389033" cy="47608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0973163" y="6525344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0973163" y="644709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960263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766733" y="960264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609601" y="212231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5225752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1037927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792490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953501" y="333376"/>
            <a:ext cx="2806700" cy="611981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527052" y="333376"/>
            <a:ext cx="8223249" cy="6119813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11" hasCustomPrompt="1"/>
          </p:nvPr>
        </p:nvSpPr>
        <p:spPr>
          <a:xfrm>
            <a:off x="381000" y="1143001"/>
            <a:ext cx="11525251" cy="2500313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2" hasCustomPrompt="1"/>
          </p:nvPr>
        </p:nvSpPr>
        <p:spPr>
          <a:xfrm>
            <a:off x="381000" y="3857625"/>
            <a:ext cx="11525251" cy="257175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 spd="slow">
    <p:pull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1.xml"/><Relationship Id="rId18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41.xml"/><Relationship Id="rId21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0.xml"/><Relationship Id="rId17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40.xml"/><Relationship Id="rId16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48.xml"/><Relationship Id="rId19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slideLayout" Target="../slideLayouts/slideLayout152.xml"/><Relationship Id="rId22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80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89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04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7.emf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12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621631-80D8-4D11-B12A-A215E05281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1218565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</p:sldLayoutIdLst>
  <p:txStyles>
    <p:titleStyle>
      <a:lvl1pPr algn="ctr" defTabSz="1218565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27052" y="333384"/>
            <a:ext cx="9120716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850" tIns="54425" rIns="108850" bIns="54425" numCol="1" anchor="ctr" anchorCtr="0" compatLnSpc="1"/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5525" y="1124744"/>
            <a:ext cx="11224683" cy="5328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850" tIns="54425" rIns="108850" bIns="54425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6" r:id="rId20"/>
    <p:sldLayoutId id="2147483817" r:id="rId2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1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1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1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1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544195" algn="l" rtl="0" eaLnBrk="1" fontAlgn="base" hangingPunct="1">
        <a:spcBef>
          <a:spcPct val="0"/>
        </a:spcBef>
        <a:spcAft>
          <a:spcPct val="0"/>
        </a:spcAft>
        <a:defRPr sz="31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1088390" algn="l" rtl="0" eaLnBrk="1" fontAlgn="base" hangingPunct="1">
        <a:spcBef>
          <a:spcPct val="0"/>
        </a:spcBef>
        <a:spcAft>
          <a:spcPct val="0"/>
        </a:spcAft>
        <a:defRPr sz="31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632585" algn="l" rtl="0" eaLnBrk="1" fontAlgn="base" hangingPunct="1">
        <a:spcBef>
          <a:spcPct val="0"/>
        </a:spcBef>
        <a:spcAft>
          <a:spcPct val="0"/>
        </a:spcAft>
        <a:defRPr sz="31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2176780" algn="l" rtl="0" eaLnBrk="1" fontAlgn="base" hangingPunct="1">
        <a:spcBef>
          <a:spcPct val="0"/>
        </a:spcBef>
        <a:spcAft>
          <a:spcPct val="0"/>
        </a:spcAft>
        <a:defRPr sz="31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408305" indent="-40830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D7000F"/>
        </a:buClr>
        <a:buFont typeface="Wingdings" panose="05000000000000000000" pitchFamily="2" charset="2"/>
        <a:buChar char="n"/>
        <a:defRPr sz="3100">
          <a:solidFill>
            <a:schemeClr val="tx1"/>
          </a:solidFill>
          <a:latin typeface="+mn-lt"/>
          <a:ea typeface="+mn-ea"/>
          <a:cs typeface="+mn-cs"/>
        </a:defRPr>
      </a:lvl1pPr>
      <a:lvl2pPr marL="883920" indent="-34036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D7000F"/>
        </a:buClr>
        <a:buFont typeface="Wingdings" panose="05000000000000000000" pitchFamily="2" charset="2"/>
        <a:buChar char="p"/>
        <a:defRPr sz="2600">
          <a:solidFill>
            <a:schemeClr val="tx1"/>
          </a:solidFill>
          <a:latin typeface="+mn-lt"/>
          <a:ea typeface="+mn-ea"/>
        </a:defRPr>
      </a:lvl2pPr>
      <a:lvl3pPr marL="1360170" indent="-27178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D7000F"/>
        </a:buClr>
        <a:buFont typeface="Wingdings" panose="05000000000000000000" pitchFamily="2" charset="2"/>
        <a:buChar char="Ø"/>
        <a:defRPr>
          <a:solidFill>
            <a:schemeClr val="tx1"/>
          </a:solidFill>
          <a:latin typeface="+mn-lt"/>
          <a:ea typeface="+mn-ea"/>
        </a:defRPr>
      </a:lvl3pPr>
      <a:lvl4pPr marL="1904365" indent="-27178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D7000F"/>
        </a:buClr>
        <a:buFont typeface="Wingdings" panose="05000000000000000000" pitchFamily="2" charset="2"/>
        <a:buChar char="§"/>
        <a:defRPr sz="1900">
          <a:solidFill>
            <a:schemeClr val="tx1"/>
          </a:solidFill>
          <a:latin typeface="+mn-lt"/>
          <a:ea typeface="+mn-ea"/>
        </a:defRPr>
      </a:lvl4pPr>
      <a:lvl5pPr marL="2448560" indent="-27178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D7000F"/>
        </a:buClr>
        <a:buFont typeface="Arial" panose="020B0604020202020204" pitchFamily="34" charset="0"/>
        <a:buChar char="-"/>
        <a:defRPr sz="1700">
          <a:solidFill>
            <a:schemeClr val="tx1"/>
          </a:solidFill>
          <a:latin typeface="+mn-lt"/>
          <a:ea typeface="+mn-ea"/>
        </a:defRPr>
      </a:lvl5pPr>
      <a:lvl6pPr marL="2992755" indent="-27178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700">
          <a:solidFill>
            <a:schemeClr val="tx1"/>
          </a:solidFill>
          <a:latin typeface="+mn-lt"/>
          <a:ea typeface="+mn-ea"/>
        </a:defRPr>
      </a:lvl6pPr>
      <a:lvl7pPr marL="3536950" indent="-27178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700">
          <a:solidFill>
            <a:schemeClr val="tx1"/>
          </a:solidFill>
          <a:latin typeface="+mn-lt"/>
          <a:ea typeface="+mn-ea"/>
        </a:defRPr>
      </a:lvl7pPr>
      <a:lvl8pPr marL="4081145" indent="-27178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700">
          <a:solidFill>
            <a:schemeClr val="tx1"/>
          </a:solidFill>
          <a:latin typeface="+mn-lt"/>
          <a:ea typeface="+mn-ea"/>
        </a:defRPr>
      </a:lvl8pPr>
      <a:lvl9pPr marL="4625340" indent="-27178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7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08775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195" algn="l" defTabSz="108775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390" algn="l" defTabSz="108775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585" algn="l" defTabSz="108775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780" algn="l" defTabSz="108775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975" algn="l" defTabSz="108775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535" algn="l" defTabSz="108775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730" algn="l" defTabSz="108775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5" algn="l" defTabSz="108775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B54AC5-522E-4C6E-9B07-38BF792465DF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E7FF66-7364-401C-A2CD-1F138EAF809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ctr" defTabSz="1218565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fanliyuan\Desktop\PPT模板-26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989" y="16892"/>
            <a:ext cx="12205989" cy="6865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419" y="548680"/>
            <a:ext cx="9120716" cy="5032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5517" y="1125538"/>
            <a:ext cx="11224683" cy="53276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8E809C8D-06A1-476F-A912-22DBA72B315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</p:sldLayoutIdLst>
  <p:transition spd="slow">
    <p:pull/>
  </p:transition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n"/>
        <a:defRPr sz="2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p"/>
        <a:defRPr sz="20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Ø"/>
        <a:defRPr sz="2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3pPr>
      <a:lvl4pPr marL="1600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4pPr>
      <a:lvl5pPr marL="2057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5pPr>
      <a:lvl6pPr marL="2514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fanliyuan\Desktop\PPT模板-26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989" y="16892"/>
            <a:ext cx="12205989" cy="6865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25026" y="548680"/>
            <a:ext cx="9120716" cy="5032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5517" y="1125538"/>
            <a:ext cx="11224683" cy="53276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</p:sldLayoutIdLst>
  <p:transition spd="slow">
    <p:pull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n"/>
        <a:defRPr sz="2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p"/>
        <a:defRPr sz="20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Ø"/>
        <a:defRPr sz="2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3pPr>
      <a:lvl4pPr marL="1600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4pPr>
      <a:lvl5pPr marL="2057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5pPr>
      <a:lvl6pPr marL="2514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fanliyuan\Desktop\PPT模板-26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989" y="16892"/>
            <a:ext cx="12205989" cy="6865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27382" y="549498"/>
            <a:ext cx="9120716" cy="5032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5517" y="1125538"/>
            <a:ext cx="11224683" cy="53276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</p:sldLayoutIdLst>
  <p:transition spd="slow">
    <p:pull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n"/>
        <a:defRPr sz="2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p"/>
        <a:defRPr sz="20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Ø"/>
        <a:defRPr sz="2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3pPr>
      <a:lvl4pPr marL="1600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4pPr>
      <a:lvl5pPr marL="2057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5pPr>
      <a:lvl6pPr marL="2514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fanliyuan\Desktop\PPT模板-26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989" y="16892"/>
            <a:ext cx="12205989" cy="6865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549498"/>
            <a:ext cx="9120716" cy="5032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5517" y="1125538"/>
            <a:ext cx="11224683" cy="53276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647700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</p:sldLayoutIdLst>
  <p:transition spd="slow">
    <p:pull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n"/>
        <a:defRPr sz="2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p"/>
        <a:defRPr sz="20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Ø"/>
        <a:defRPr sz="2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3pPr>
      <a:lvl4pPr marL="1600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4pPr>
      <a:lvl5pPr marL="2057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5pPr>
      <a:lvl6pPr marL="2514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fanliyuan\Desktop\PPT模板-26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989" y="16892"/>
            <a:ext cx="12205989" cy="6865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2299" y="548680"/>
            <a:ext cx="9120716" cy="5032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5517" y="1125538"/>
            <a:ext cx="11224683" cy="53276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0949600" y="6469567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12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</p:sldLayoutIdLst>
  <p:transition spd="slow">
    <p:pull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n"/>
        <a:defRPr sz="2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p"/>
        <a:defRPr sz="20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Ø"/>
        <a:defRPr sz="2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3pPr>
      <a:lvl4pPr marL="1600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4pPr>
      <a:lvl5pPr marL="2057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5pPr>
      <a:lvl6pPr marL="2514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fanliyuan\Desktop\PPT模板-26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989" y="16892"/>
            <a:ext cx="12205989" cy="6865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5" name="think-cell Slide" r:id="rId19" imgW="12700" imgH="12700" progId="TCLayout.ActiveDocument.1">
                  <p:embed/>
                </p:oleObj>
              </mc:Choice>
              <mc:Fallback>
                <p:oleObj name="think-cell Slide" r:id="rId19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23690" y="597540"/>
            <a:ext cx="9120716" cy="5032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5517" y="1125538"/>
            <a:ext cx="11224683" cy="53276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0973163" y="6495260"/>
            <a:ext cx="1218837" cy="381000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0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257175" indent="-2571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n"/>
        <a:defRPr sz="18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  <a:cs typeface="+mn-cs"/>
        </a:defRPr>
      </a:lvl1pPr>
      <a:lvl2pPr marL="557530" indent="-21463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p"/>
        <a:defRPr sz="15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2pPr>
      <a:lvl3pPr marL="857250" indent="-1714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Ø"/>
        <a:defRPr sz="18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3pPr>
      <a:lvl4pPr marL="1200150" indent="-1714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§"/>
        <a:defRPr sz="120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4pPr>
      <a:lvl5pPr marL="1543050" indent="-1714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05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5pPr>
      <a:lvl6pPr marL="1885950" indent="-1714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050">
          <a:solidFill>
            <a:schemeClr val="tx1"/>
          </a:solidFill>
          <a:latin typeface="+mn-lt"/>
          <a:ea typeface="+mn-ea"/>
        </a:defRPr>
      </a:lvl6pPr>
      <a:lvl7pPr marL="2228850" indent="-1714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050">
          <a:solidFill>
            <a:schemeClr val="tx1"/>
          </a:solidFill>
          <a:latin typeface="+mn-lt"/>
          <a:ea typeface="+mn-ea"/>
        </a:defRPr>
      </a:lvl7pPr>
      <a:lvl8pPr marL="2571750" indent="-1714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050">
          <a:solidFill>
            <a:schemeClr val="tx1"/>
          </a:solidFill>
          <a:latin typeface="+mn-lt"/>
          <a:ea typeface="+mn-ea"/>
        </a:defRPr>
      </a:lvl8pPr>
      <a:lvl9pPr marL="2914650" indent="-1714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05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1E7FA3-2F8E-4AB3-AA35-D1F9367347D6}" type="datetimeFigureOut">
              <a:rPr lang="zh-CN" altLang="en-US" smtClean="0"/>
              <a:t>2020/4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456DB8-4780-4252-997E-8348569C46D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p:txStyles>
    <p:titleStyle>
      <a:lvl1pPr algn="ctr" defTabSz="1218565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7.xml"/><Relationship Id="rId6" Type="http://schemas.microsoft.com/office/2007/relationships/hdphoto" Target="../media/hdphoto2.wdp"/><Relationship Id="rId5" Type="http://schemas.openxmlformats.org/officeDocument/2006/relationships/image" Target="../media/image1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2.wdp"/><Relationship Id="rId5" Type="http://schemas.openxmlformats.org/officeDocument/2006/relationships/image" Target="../media/image14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/>
          <p:cNvSpPr/>
          <p:nvPr/>
        </p:nvSpPr>
        <p:spPr bwMode="auto">
          <a:xfrm>
            <a:off x="2455867" y="190"/>
            <a:ext cx="9729783" cy="4892523"/>
          </a:xfrm>
          <a:custGeom>
            <a:avLst/>
            <a:gdLst>
              <a:gd name="T0" fmla="*/ 0 w 4597"/>
              <a:gd name="T1" fmla="*/ 0 h 2298"/>
              <a:gd name="T2" fmla="*/ 4597 w 4597"/>
              <a:gd name="T3" fmla="*/ 0 h 2298"/>
              <a:gd name="T4" fmla="*/ 2328 w 4597"/>
              <a:gd name="T5" fmla="*/ 2266 h 2298"/>
              <a:gd name="T6" fmla="*/ 2299 w 4597"/>
              <a:gd name="T7" fmla="*/ 2298 h 2298"/>
              <a:gd name="T8" fmla="*/ 0 w 4597"/>
              <a:gd name="T9" fmla="*/ 0 h 2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97" h="2298">
                <a:moveTo>
                  <a:pt x="0" y="0"/>
                </a:moveTo>
                <a:lnTo>
                  <a:pt x="4597" y="0"/>
                </a:lnTo>
                <a:lnTo>
                  <a:pt x="2328" y="2266"/>
                </a:lnTo>
                <a:lnTo>
                  <a:pt x="2299" y="2298"/>
                </a:lnTo>
                <a:lnTo>
                  <a:pt x="0" y="0"/>
                </a:lnTo>
                <a:close/>
              </a:path>
            </a:pathLst>
          </a:custGeom>
          <a:solidFill>
            <a:srgbClr val="D7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Freeform 7"/>
          <p:cNvSpPr/>
          <p:nvPr/>
        </p:nvSpPr>
        <p:spPr bwMode="auto">
          <a:xfrm>
            <a:off x="7406478" y="161995"/>
            <a:ext cx="4785522" cy="6695817"/>
          </a:xfrm>
          <a:custGeom>
            <a:avLst/>
            <a:gdLst>
              <a:gd name="T0" fmla="*/ 2261 w 2261"/>
              <a:gd name="T1" fmla="*/ 0 h 3145"/>
              <a:gd name="T2" fmla="*/ 2261 w 2261"/>
              <a:gd name="T3" fmla="*/ 3145 h 3145"/>
              <a:gd name="T4" fmla="*/ 883 w 2261"/>
              <a:gd name="T5" fmla="*/ 3145 h 3145"/>
              <a:gd name="T6" fmla="*/ 0 w 2261"/>
              <a:gd name="T7" fmla="*/ 2260 h 3145"/>
              <a:gd name="T8" fmla="*/ 2261 w 2261"/>
              <a:gd name="T9" fmla="*/ 0 h 3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61" h="3145">
                <a:moveTo>
                  <a:pt x="2261" y="0"/>
                </a:moveTo>
                <a:lnTo>
                  <a:pt x="2261" y="3145"/>
                </a:lnTo>
                <a:lnTo>
                  <a:pt x="883" y="3145"/>
                </a:lnTo>
                <a:lnTo>
                  <a:pt x="0" y="2260"/>
                </a:lnTo>
                <a:lnTo>
                  <a:pt x="2261" y="0"/>
                </a:lnTo>
                <a:close/>
              </a:path>
            </a:pathLst>
          </a:custGeom>
          <a:blipFill dpi="0" rotWithShape="1">
            <a:blip r:embed="rId3" cstate="email">
              <a:grayscl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contrast="40000"/>
                      </a14:imgEffect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0">
            <a:noFill/>
            <a:prstDash val="solid"/>
            <a:round/>
          </a:ln>
        </p:spPr>
        <p:txBody>
          <a:bodyPr vert="horz" wrap="square" lIns="121913" tIns="60956" rIns="121913" bIns="60956" numCol="1" anchor="t" anchorCtr="0" compatLnSpc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70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Freeform 8"/>
          <p:cNvSpPr/>
          <p:nvPr/>
        </p:nvSpPr>
        <p:spPr bwMode="auto">
          <a:xfrm>
            <a:off x="5533332" y="5071551"/>
            <a:ext cx="3553689" cy="1786262"/>
          </a:xfrm>
          <a:custGeom>
            <a:avLst/>
            <a:gdLst>
              <a:gd name="T0" fmla="*/ 839 w 1679"/>
              <a:gd name="T1" fmla="*/ 0 h 839"/>
              <a:gd name="T2" fmla="*/ 1679 w 1679"/>
              <a:gd name="T3" fmla="*/ 839 h 839"/>
              <a:gd name="T4" fmla="*/ 0 w 1679"/>
              <a:gd name="T5" fmla="*/ 839 h 839"/>
              <a:gd name="T6" fmla="*/ 839 w 1679"/>
              <a:gd name="T7" fmla="*/ 0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79" h="839">
                <a:moveTo>
                  <a:pt x="839" y="0"/>
                </a:moveTo>
                <a:lnTo>
                  <a:pt x="1679" y="839"/>
                </a:lnTo>
                <a:lnTo>
                  <a:pt x="0" y="839"/>
                </a:lnTo>
                <a:lnTo>
                  <a:pt x="839" y="0"/>
                </a:lnTo>
                <a:close/>
              </a:path>
            </a:pathLst>
          </a:custGeom>
          <a:blipFill dpi="0" rotWithShape="1">
            <a:blip r:embed="rId5" cstate="email">
              <a:grayscl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20000" contrast="40000"/>
                      </a14:imgEffect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0">
            <a:noFill/>
            <a:prstDash val="solid"/>
            <a:round/>
          </a:ln>
        </p:spPr>
        <p:txBody>
          <a:bodyPr vert="horz" wrap="square" lIns="121913" tIns="60956" rIns="121913" bIns="60956" numCol="1" anchor="t" anchorCtr="0" compatLnSpc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70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" name="Freeform 8"/>
          <p:cNvSpPr/>
          <p:nvPr/>
        </p:nvSpPr>
        <p:spPr bwMode="auto">
          <a:xfrm>
            <a:off x="5667887" y="5196181"/>
            <a:ext cx="3305742" cy="1661632"/>
          </a:xfrm>
          <a:custGeom>
            <a:avLst/>
            <a:gdLst>
              <a:gd name="T0" fmla="*/ 839 w 1679"/>
              <a:gd name="T1" fmla="*/ 0 h 839"/>
              <a:gd name="T2" fmla="*/ 1679 w 1679"/>
              <a:gd name="T3" fmla="*/ 839 h 839"/>
              <a:gd name="T4" fmla="*/ 0 w 1679"/>
              <a:gd name="T5" fmla="*/ 839 h 839"/>
              <a:gd name="T6" fmla="*/ 839 w 1679"/>
              <a:gd name="T7" fmla="*/ 0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79" h="839">
                <a:moveTo>
                  <a:pt x="839" y="0"/>
                </a:moveTo>
                <a:lnTo>
                  <a:pt x="1679" y="839"/>
                </a:lnTo>
                <a:lnTo>
                  <a:pt x="0" y="839"/>
                </a:lnTo>
                <a:lnTo>
                  <a:pt x="839" y="0"/>
                </a:lnTo>
                <a:close/>
              </a:path>
            </a:pathLst>
          </a:custGeom>
          <a:solidFill>
            <a:srgbClr val="6E6E6E">
              <a:alpha val="69804"/>
            </a:srgbClr>
          </a:solidFill>
          <a:ln w="0">
            <a:noFill/>
            <a:prstDash val="solid"/>
            <a:round/>
          </a:ln>
        </p:spPr>
        <p:txBody>
          <a:bodyPr vert="horz" wrap="square" lIns="121913" tIns="60956" rIns="121913" bIns="60956" numCol="1" anchor="t" anchorCtr="0" compatLnSpc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70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054645" y="3186737"/>
            <a:ext cx="25843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600" dirty="0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+mn-ea"/>
              </a:rPr>
              <a:t>Fiddler</a:t>
            </a:r>
            <a:r>
              <a:rPr lang="zh-CN" altLang="en-US" sz="3600" dirty="0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+mn-ea"/>
              </a:rPr>
              <a:t>分享</a:t>
            </a:r>
            <a:endParaRPr lang="en-US" altLang="zh-CN" sz="3600" dirty="0" smtClean="0"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25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  <p:bldP spid="8" grpId="0" animBg="1"/>
      <p:bldP spid="9" grpId="0" animBg="1"/>
      <p:bldP spid="9" grpId="1" animBg="1"/>
      <p:bldP spid="10" grpId="0"/>
      <p:bldP spid="10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en-US" altLang="zh-CN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Fiddler</a:t>
            </a:r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下载安装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32619" y="1140659"/>
            <a:ext cx="11020473" cy="50546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vertOverflow="overflow" horzOverflow="overflow" vert="horz" wrap="square" lIns="45718" tIns="45718" rIns="45718" bIns="45718" numCol="1" spcCol="38100" rtlCol="0" anchor="t" forceAA="0">
            <a:spAutoFit/>
          </a:bodyPr>
          <a:lstStyle/>
          <a:p>
            <a:pPr marL="0" algn="l">
              <a:lnSpc>
                <a:spcPct val="150000"/>
              </a:lnSpc>
              <a:buFont typeface="Wingdings" panose="05000000000000000000" charset="0"/>
              <a:buNone/>
            </a:pPr>
            <a:r>
              <a:rPr lang="en-US" altLang="zh-CN" dirty="0" smtClean="0">
                <a:solidFill>
                  <a:srgbClr val="000000"/>
                </a:solidFill>
                <a:sym typeface="+mn-ea"/>
              </a:rPr>
              <a:t>  window端下载地址：</a:t>
            </a:r>
            <a:r>
              <a:rPr lang="zh-CN" altLang="en-US" u="sng" dirty="0" smtClean="0">
                <a:solidFill>
                  <a:srgbClr val="92D050"/>
                </a:solidFill>
                <a:sym typeface="+mn-ea"/>
              </a:rPr>
              <a:t>https://www.telerik.com/download/fiddler</a:t>
            </a:r>
            <a:endParaRPr kumimoji="0" lang="zh-CN" altLang="en-US" sz="180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宋体" panose="02010600030101010101" pitchFamily="2" charset="-122"/>
              <a:ea typeface="宋体" panose="02010600030101010101" pitchFamily="2" charset="-122"/>
              <a:cs typeface="+mj-cs"/>
              <a:sym typeface="Helvetic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451" y="1802049"/>
            <a:ext cx="3429580" cy="2324270"/>
          </a:xfrm>
          <a:prstGeom prst="rect">
            <a:avLst/>
          </a:prstGeom>
        </p:spPr>
      </p:pic>
      <p:sp>
        <p:nvSpPr>
          <p:cNvPr id="9" name="右箭头 8"/>
          <p:cNvSpPr/>
          <p:nvPr/>
        </p:nvSpPr>
        <p:spPr>
          <a:xfrm>
            <a:off x="4536980" y="3039116"/>
            <a:ext cx="846162" cy="668740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8926" y="1815073"/>
            <a:ext cx="3429580" cy="2324270"/>
          </a:xfrm>
          <a:prstGeom prst="rect">
            <a:avLst/>
          </a:prstGeom>
        </p:spPr>
      </p:pic>
      <p:sp>
        <p:nvSpPr>
          <p:cNvPr id="11" name="右箭头 10"/>
          <p:cNvSpPr/>
          <p:nvPr/>
        </p:nvSpPr>
        <p:spPr>
          <a:xfrm>
            <a:off x="791451" y="5004841"/>
            <a:ext cx="846162" cy="668740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37613" y="4282249"/>
            <a:ext cx="3429580" cy="2382319"/>
          </a:xfrm>
          <a:prstGeom prst="rect">
            <a:avLst/>
          </a:prstGeom>
        </p:spPr>
      </p:pic>
      <p:sp>
        <p:nvSpPr>
          <p:cNvPr id="13" name="右箭头 12"/>
          <p:cNvSpPr/>
          <p:nvPr/>
        </p:nvSpPr>
        <p:spPr>
          <a:xfrm>
            <a:off x="5309476" y="5342661"/>
            <a:ext cx="846162" cy="668740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90056" y="4241814"/>
            <a:ext cx="3379139" cy="2325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735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zh-CN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目录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4058670" y="1324189"/>
            <a:ext cx="3333420" cy="599095"/>
            <a:chOff x="2683712" y="4058571"/>
            <a:chExt cx="3233396" cy="317306"/>
          </a:xfrm>
        </p:grpSpPr>
        <p:sp>
          <p:nvSpPr>
            <p:cNvPr id="5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1" name="五边形 50"/>
            <p:cNvSpPr/>
            <p:nvPr/>
          </p:nvSpPr>
          <p:spPr>
            <a:xfrm rot="10800000">
              <a:off x="2683712" y="4058573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2" name="椭圆 51"/>
          <p:cNvSpPr/>
          <p:nvPr/>
        </p:nvSpPr>
        <p:spPr>
          <a:xfrm>
            <a:off x="3619432" y="130119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1</a:t>
            </a:r>
            <a:endParaRPr lang="zh-CN" altLang="en-US" sz="4800" dirty="0"/>
          </a:p>
        </p:txBody>
      </p:sp>
      <p:grpSp>
        <p:nvGrpSpPr>
          <p:cNvPr id="53" name="组合 52"/>
          <p:cNvGrpSpPr/>
          <p:nvPr/>
        </p:nvGrpSpPr>
        <p:grpSpPr>
          <a:xfrm>
            <a:off x="4058670" y="2294284"/>
            <a:ext cx="3333420" cy="599092"/>
            <a:chOff x="2683712" y="4058571"/>
            <a:chExt cx="3233396" cy="317304"/>
          </a:xfrm>
        </p:grpSpPr>
        <p:sp>
          <p:nvSpPr>
            <p:cNvPr id="54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5" name="五边形 54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6" name="椭圆 55"/>
          <p:cNvSpPr/>
          <p:nvPr/>
        </p:nvSpPr>
        <p:spPr>
          <a:xfrm>
            <a:off x="3619432" y="2271283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2</a:t>
            </a:r>
            <a:endParaRPr lang="zh-CN" altLang="en-US" sz="4800" dirty="0"/>
          </a:p>
        </p:txBody>
      </p:sp>
      <p:grpSp>
        <p:nvGrpSpPr>
          <p:cNvPr id="57" name="组合 56"/>
          <p:cNvGrpSpPr/>
          <p:nvPr/>
        </p:nvGrpSpPr>
        <p:grpSpPr>
          <a:xfrm>
            <a:off x="4058670" y="3264369"/>
            <a:ext cx="3333420" cy="599092"/>
            <a:chOff x="2683712" y="4058571"/>
            <a:chExt cx="3233396" cy="317304"/>
          </a:xfrm>
        </p:grpSpPr>
        <p:sp>
          <p:nvSpPr>
            <p:cNvPr id="58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9" name="五边形 58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0" name="椭圆 59"/>
          <p:cNvSpPr/>
          <p:nvPr/>
        </p:nvSpPr>
        <p:spPr>
          <a:xfrm>
            <a:off x="3619432" y="324136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3</a:t>
            </a:r>
            <a:endParaRPr lang="zh-CN" altLang="en-US" sz="4800" dirty="0"/>
          </a:p>
        </p:txBody>
      </p:sp>
      <p:grpSp>
        <p:nvGrpSpPr>
          <p:cNvPr id="61" name="组合 60"/>
          <p:cNvGrpSpPr/>
          <p:nvPr/>
        </p:nvGrpSpPr>
        <p:grpSpPr>
          <a:xfrm>
            <a:off x="4058670" y="4235077"/>
            <a:ext cx="3333420" cy="607199"/>
            <a:chOff x="2683712" y="4058571"/>
            <a:chExt cx="3233396" cy="317304"/>
          </a:xfrm>
        </p:grpSpPr>
        <p:sp>
          <p:nvSpPr>
            <p:cNvPr id="62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3" name="五边形 62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4" name="椭圆 63"/>
          <p:cNvSpPr/>
          <p:nvPr/>
        </p:nvSpPr>
        <p:spPr>
          <a:xfrm>
            <a:off x="3619432" y="4211453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4</a:t>
            </a:r>
            <a:endParaRPr lang="zh-CN" altLang="en-US" sz="4800" dirty="0"/>
          </a:p>
        </p:txBody>
      </p:sp>
      <p:grpSp>
        <p:nvGrpSpPr>
          <p:cNvPr id="65" name="组合 64"/>
          <p:cNvGrpSpPr/>
          <p:nvPr/>
        </p:nvGrpSpPr>
        <p:grpSpPr>
          <a:xfrm>
            <a:off x="4058670" y="5190268"/>
            <a:ext cx="3333420" cy="607199"/>
            <a:chOff x="2683712" y="4058571"/>
            <a:chExt cx="3233396" cy="317304"/>
          </a:xfrm>
        </p:grpSpPr>
        <p:sp>
          <p:nvSpPr>
            <p:cNvPr id="66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7" name="五边形 66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8" name="椭圆 67"/>
          <p:cNvSpPr/>
          <p:nvPr/>
        </p:nvSpPr>
        <p:spPr>
          <a:xfrm>
            <a:off x="3619432" y="5166644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5</a:t>
            </a:r>
            <a:endParaRPr lang="zh-CN" altLang="en-US" sz="4800" dirty="0"/>
          </a:p>
        </p:txBody>
      </p:sp>
      <p:grpSp>
        <p:nvGrpSpPr>
          <p:cNvPr id="69" name="组合 68"/>
          <p:cNvGrpSpPr/>
          <p:nvPr/>
        </p:nvGrpSpPr>
        <p:grpSpPr>
          <a:xfrm>
            <a:off x="4058670" y="6145459"/>
            <a:ext cx="3333420" cy="630200"/>
            <a:chOff x="2683712" y="4058571"/>
            <a:chExt cx="3233396" cy="317304"/>
          </a:xfrm>
        </p:grpSpPr>
        <p:sp>
          <p:nvSpPr>
            <p:cNvPr id="7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71" name="五边形 70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72" name="椭圆 71"/>
          <p:cNvSpPr/>
          <p:nvPr/>
        </p:nvSpPr>
        <p:spPr>
          <a:xfrm>
            <a:off x="3619432" y="6121835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6</a:t>
            </a:r>
            <a:endParaRPr lang="zh-CN" altLang="en-US" sz="4800" dirty="0"/>
          </a:p>
        </p:txBody>
      </p:sp>
      <p:sp>
        <p:nvSpPr>
          <p:cNvPr id="73" name="文本框 72"/>
          <p:cNvSpPr txBox="1"/>
          <p:nvPr/>
        </p:nvSpPr>
        <p:spPr bwMode="auto">
          <a:xfrm>
            <a:off x="4234423" y="1283473"/>
            <a:ext cx="2473999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457200" algn="ctr">
              <a:lnSpc>
                <a:spcPct val="150000"/>
              </a:lnSpc>
            </a:pPr>
            <a:r>
              <a:rPr lang="zh-CN" altLang="en-US" sz="2400" dirty="0" smtClean="0">
                <a:sym typeface="+mn-ea"/>
              </a:rPr>
              <a:t>预热</a:t>
            </a:r>
            <a:endParaRPr lang="zh-CN" altLang="en-US" sz="2400" b="1" dirty="0"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4" name="文本框 73"/>
          <p:cNvSpPr txBox="1"/>
          <p:nvPr/>
        </p:nvSpPr>
        <p:spPr bwMode="auto">
          <a:xfrm>
            <a:off x="4363153" y="2292883"/>
            <a:ext cx="2806234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</a:t>
            </a:r>
            <a:r>
              <a:rPr lang="zh-CN" altLang="en-US" sz="2400" dirty="0">
                <a:sym typeface="+mn-ea"/>
              </a:rPr>
              <a:t>iddler是</a:t>
            </a:r>
            <a:r>
              <a:rPr lang="zh-CN" altLang="en-US" sz="2400" dirty="0" smtClean="0">
                <a:sym typeface="+mn-ea"/>
              </a:rPr>
              <a:t>什么</a:t>
            </a:r>
            <a:endParaRPr lang="zh-CN" altLang="en-US" sz="2400" b="1" dirty="0" smtClean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5" name="文本框 74"/>
          <p:cNvSpPr txBox="1"/>
          <p:nvPr/>
        </p:nvSpPr>
        <p:spPr bwMode="auto">
          <a:xfrm>
            <a:off x="4157380" y="322235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olidFill>
                  <a:srgbClr val="FF0000"/>
                </a:solidFill>
                <a:sym typeface="+mn-ea"/>
              </a:rPr>
              <a:t>fiddler</a:t>
            </a:r>
            <a:r>
              <a:rPr lang="zh-CN" altLang="en-US" sz="2400" dirty="0">
                <a:solidFill>
                  <a:srgbClr val="FF0000"/>
                </a:solidFill>
                <a:sym typeface="+mn-ea"/>
              </a:rPr>
              <a:t>界面</a:t>
            </a:r>
            <a:r>
              <a:rPr lang="zh-CN" altLang="en-US" sz="2400" dirty="0" smtClean="0">
                <a:solidFill>
                  <a:srgbClr val="FF0000"/>
                </a:solidFill>
                <a:sym typeface="+mn-ea"/>
              </a:rPr>
              <a:t>概况</a:t>
            </a:r>
            <a:endParaRPr lang="zh-CN" altLang="en-US" sz="2400" dirty="0">
              <a:solidFill>
                <a:srgbClr val="FF0000"/>
              </a:solidFill>
            </a:endParaRPr>
          </a:p>
        </p:txBody>
      </p:sp>
      <p:sp>
        <p:nvSpPr>
          <p:cNvPr id="76" name="文本框 75"/>
          <p:cNvSpPr txBox="1"/>
          <p:nvPr/>
        </p:nvSpPr>
        <p:spPr bwMode="auto">
          <a:xfrm>
            <a:off x="4167452" y="4194932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抓包</a:t>
            </a:r>
            <a:r>
              <a:rPr lang="zh-CN" altLang="en-US" sz="2400" dirty="0" smtClean="0">
                <a:sym typeface="+mn-ea"/>
              </a:rPr>
              <a:t>简介</a:t>
            </a:r>
            <a:endParaRPr lang="zh-CN" altLang="en-US" sz="2400" dirty="0">
              <a:sym typeface="+mn-ea"/>
            </a:endParaRPr>
          </a:p>
        </p:txBody>
      </p:sp>
      <p:sp>
        <p:nvSpPr>
          <p:cNvPr id="77" name="文本框 76"/>
          <p:cNvSpPr txBox="1"/>
          <p:nvPr/>
        </p:nvSpPr>
        <p:spPr bwMode="auto">
          <a:xfrm>
            <a:off x="4167453" y="516501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内置命令</a:t>
            </a:r>
            <a:endParaRPr lang="zh-CN" altLang="en-US" sz="2400" dirty="0"/>
          </a:p>
        </p:txBody>
      </p:sp>
      <p:sp>
        <p:nvSpPr>
          <p:cNvPr id="78" name="文本框 77"/>
          <p:cNvSpPr txBox="1"/>
          <p:nvPr/>
        </p:nvSpPr>
        <p:spPr bwMode="auto">
          <a:xfrm>
            <a:off x="4360258" y="6098834"/>
            <a:ext cx="3391052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>
              <a:lnSpc>
                <a:spcPct val="150000"/>
              </a:lnSpc>
            </a:pPr>
            <a:r>
              <a:rPr lang="zh-CN" altLang="en-US" sz="2400" dirty="0">
                <a:sym typeface="+mn-ea"/>
              </a:rPr>
              <a:t>解密</a:t>
            </a:r>
            <a:r>
              <a:rPr lang="en-US" altLang="zh-CN" sz="2400" dirty="0">
                <a:sym typeface="+mn-ea"/>
              </a:rPr>
              <a:t>https</a:t>
            </a:r>
            <a:r>
              <a:rPr lang="zh-CN" altLang="en-US" sz="2400" dirty="0">
                <a:sym typeface="+mn-ea"/>
              </a:rPr>
              <a:t>的网络数据</a:t>
            </a:r>
          </a:p>
        </p:txBody>
      </p:sp>
    </p:spTree>
    <p:extLst>
      <p:ext uri="{BB962C8B-B14F-4D97-AF65-F5344CB8AC3E}">
        <p14:creationId xmlns:p14="http://schemas.microsoft.com/office/powerpoint/2010/main" val="558054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en-US" altLang="zh-CN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Fiddler</a:t>
            </a:r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界面概况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pic>
        <p:nvPicPr>
          <p:cNvPr id="15" name="内容占位符 2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368766" y="1527908"/>
            <a:ext cx="8607425" cy="4813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160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en-US" altLang="zh-CN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Fiddler</a:t>
            </a:r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界面</a:t>
            </a:r>
            <a:r>
              <a:rPr lang="en-US" altLang="zh-CN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-</a:t>
            </a:r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工具栏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pic>
        <p:nvPicPr>
          <p:cNvPr id="5" name="内容占位符 2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110517" y="1449851"/>
            <a:ext cx="8322310" cy="3630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1791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工具栏</a:t>
            </a:r>
            <a:r>
              <a:rPr lang="en-US" altLang="zh-CN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-</a:t>
            </a:r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按钮含义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7" name="内容占位符 3"/>
          <p:cNvSpPr>
            <a:spLocks noGrp="1"/>
          </p:cNvSpPr>
          <p:nvPr>
            <p:ph idx="1"/>
          </p:nvPr>
        </p:nvSpPr>
        <p:spPr>
          <a:xfrm>
            <a:off x="623391" y="1134843"/>
            <a:ext cx="10515600" cy="5582480"/>
          </a:xfrm>
        </p:spPr>
        <p:txBody>
          <a:bodyPr>
            <a:noAutofit/>
          </a:bodyPr>
          <a:lstStyle/>
          <a:p>
            <a:pPr marL="0" algn="l">
              <a:lnSpc>
                <a:spcPts val="2760"/>
              </a:lnSpc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latin typeface="+mn-ea"/>
                <a:cs typeface="+mn-ea"/>
                <a:sym typeface="+mn-ea"/>
              </a:rPr>
              <a:t>1）为指定http协议添加备注</a:t>
            </a:r>
            <a:endParaRPr lang="zh-CN" altLang="en-US" sz="1400" dirty="0">
              <a:solidFill>
                <a:schemeClr val="dk1"/>
              </a:solidFill>
              <a:latin typeface="+mn-ea"/>
              <a:cs typeface="+mn-ea"/>
            </a:endParaRPr>
          </a:p>
          <a:p>
            <a:pPr marL="0" algn="l">
              <a:lnSpc>
                <a:spcPts val="2760"/>
              </a:lnSpc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latin typeface="+mn-ea"/>
                <a:cs typeface="+mn-ea"/>
                <a:sym typeface="+mn-ea"/>
              </a:rPr>
              <a:t>2）对指定http协议进行重播</a:t>
            </a:r>
            <a:endParaRPr lang="zh-CN" altLang="en-US" sz="1400" dirty="0">
              <a:solidFill>
                <a:schemeClr val="dk1"/>
              </a:solidFill>
              <a:latin typeface="+mn-ea"/>
              <a:cs typeface="+mn-ea"/>
            </a:endParaRPr>
          </a:p>
          <a:p>
            <a:pPr marL="0" algn="l">
              <a:lnSpc>
                <a:spcPts val="2760"/>
              </a:lnSpc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latin typeface="+mn-ea"/>
                <a:cs typeface="+mn-ea"/>
                <a:sym typeface="+mn-ea"/>
              </a:rPr>
              <a:t>3）清除指定请求，可以是图片等其他的格式，也可清除全部</a:t>
            </a:r>
            <a:endParaRPr lang="zh-CN" altLang="en-US" sz="1400" dirty="0">
              <a:solidFill>
                <a:schemeClr val="dk1"/>
              </a:solidFill>
              <a:latin typeface="+mn-ea"/>
              <a:cs typeface="+mn-ea"/>
            </a:endParaRPr>
          </a:p>
          <a:p>
            <a:pPr marL="0" algn="l">
              <a:lnSpc>
                <a:spcPts val="2760"/>
              </a:lnSpc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latin typeface="+mn-ea"/>
                <a:cs typeface="+mn-ea"/>
                <a:sym typeface="+mn-ea"/>
              </a:rPr>
              <a:t>4）该指令用于对调试使用，用法如下：</a:t>
            </a:r>
          </a:p>
          <a:p>
            <a:pPr marL="0" algn="l">
              <a:lnSpc>
                <a:spcPts val="2760"/>
              </a:lnSpc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endParaRPr lang="zh-CN" altLang="en-US" sz="1400" dirty="0">
              <a:latin typeface="+mn-ea"/>
              <a:cs typeface="+mn-ea"/>
            </a:endParaRPr>
          </a:p>
          <a:p>
            <a:endParaRPr lang="zh-CN" altLang="en-US" sz="1400" dirty="0">
              <a:latin typeface="+mn-ea"/>
              <a:cs typeface="+mn-ea"/>
            </a:endParaRPr>
          </a:p>
          <a:p>
            <a:endParaRPr lang="zh-CN" altLang="en-US" sz="1400" dirty="0">
              <a:latin typeface="+mn-ea"/>
              <a:cs typeface="+mn-ea"/>
            </a:endParaRPr>
          </a:p>
          <a:p>
            <a:endParaRPr lang="zh-CN" altLang="en-US" sz="1400" dirty="0">
              <a:latin typeface="+mn-ea"/>
              <a:cs typeface="+mn-ea"/>
            </a:endParaRPr>
          </a:p>
          <a:p>
            <a:endParaRPr lang="zh-CN" altLang="en-US" sz="1400" dirty="0">
              <a:latin typeface="+mn-ea"/>
              <a:cs typeface="+mn-ea"/>
            </a:endParaRPr>
          </a:p>
          <a:p>
            <a:endParaRPr lang="zh-CN" altLang="en-US" sz="1400" dirty="0">
              <a:latin typeface="+mn-ea"/>
              <a:cs typeface="+mn-ea"/>
            </a:endParaRPr>
          </a:p>
          <a:p>
            <a:pPr marL="0" algn="l" fontAlgn="auto">
              <a:lnSpc>
                <a:spcPts val="2760"/>
              </a:lnSpc>
              <a:buClr>
                <a:srgbClr val="000000"/>
              </a:buClr>
              <a:buFont typeface="+mj-ea"/>
              <a:buNone/>
            </a:pPr>
            <a:endParaRPr lang="zh-CN" altLang="en-US" sz="1400" dirty="0">
              <a:solidFill>
                <a:schemeClr val="dk1"/>
              </a:solidFill>
              <a:latin typeface="+mn-ea"/>
              <a:cs typeface="+mn-ea"/>
              <a:sym typeface="+mn-ea"/>
            </a:endParaRPr>
          </a:p>
          <a:p>
            <a:pPr marL="0" algn="l" fontAlgn="auto">
              <a:lnSpc>
                <a:spcPts val="2760"/>
              </a:lnSpc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chemeClr val="dk1"/>
              </a:solidFill>
              <a:latin typeface="+mn-ea"/>
              <a:cs typeface="+mn-ea"/>
              <a:sym typeface="+mn-ea"/>
            </a:endParaRPr>
          </a:p>
          <a:p>
            <a:pPr marL="0" algn="l" fontAlgn="auto">
              <a:lnSpc>
                <a:spcPts val="2760"/>
              </a:lnSpc>
              <a:buClr>
                <a:srgbClr val="000000"/>
              </a:buClr>
              <a:buFont typeface="+mj-ea"/>
              <a:buNone/>
            </a:pPr>
            <a:r>
              <a:rPr lang="zh-CN" altLang="en-US" sz="1400" dirty="0" smtClean="0">
                <a:solidFill>
                  <a:schemeClr val="dk1"/>
                </a:solidFill>
                <a:latin typeface="+mn-ea"/>
                <a:cs typeface="+mn-ea"/>
                <a:sym typeface="+mn-ea"/>
              </a:rPr>
              <a:t>5</a:t>
            </a:r>
            <a:r>
              <a:rPr lang="zh-CN" altLang="en-US" sz="1400" dirty="0">
                <a:solidFill>
                  <a:schemeClr val="dk1"/>
                </a:solidFill>
                <a:latin typeface="+mn-ea"/>
                <a:cs typeface="+mn-ea"/>
                <a:sym typeface="+mn-ea"/>
              </a:rPr>
              <a:t>）缓存模式VS流模式：</a:t>
            </a:r>
            <a:endParaRPr lang="zh-CN" altLang="en-US" sz="1400" dirty="0">
              <a:solidFill>
                <a:schemeClr val="dk1"/>
              </a:solidFill>
              <a:latin typeface="+mn-ea"/>
              <a:cs typeface="+mn-ea"/>
            </a:endParaRPr>
          </a:p>
          <a:p>
            <a:pPr marL="0" algn="l" fontAlgn="auto">
              <a:lnSpc>
                <a:spcPts val="2760"/>
              </a:lnSpc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latin typeface="+mn-ea"/>
                <a:cs typeface="+mn-ea"/>
                <a:sym typeface="+mn-ea"/>
              </a:rPr>
              <a:t>    Buffering Mode：内容先由fiddler缓存，全部返回后再发送到客户端。</a:t>
            </a:r>
            <a:endParaRPr lang="zh-CN" altLang="en-US" sz="1400" dirty="0">
              <a:solidFill>
                <a:schemeClr val="dk1"/>
              </a:solidFill>
              <a:latin typeface="+mn-ea"/>
              <a:cs typeface="+mn-ea"/>
            </a:endParaRPr>
          </a:p>
          <a:p>
            <a:pPr marL="0" algn="l" fontAlgn="auto">
              <a:lnSpc>
                <a:spcPts val="2760"/>
              </a:lnSpc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latin typeface="+mn-ea"/>
                <a:cs typeface="+mn-ea"/>
                <a:sym typeface="+mn-ea"/>
              </a:rPr>
              <a:t>    Streaming Mode：fiddler收到内容立即就转发给客户端。(默认缓存模式)</a:t>
            </a:r>
            <a:endParaRPr lang="zh-CN" altLang="en-US" sz="1400" dirty="0">
              <a:latin typeface="+mn-ea"/>
              <a:cs typeface="+mn-ea"/>
            </a:endParaRPr>
          </a:p>
          <a:p>
            <a:endParaRPr lang="zh-CN" altLang="en-US" sz="1400" dirty="0">
              <a:latin typeface="+mn-ea"/>
              <a:cs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961" y="2686344"/>
            <a:ext cx="7833995" cy="2785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3232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工具栏</a:t>
            </a:r>
            <a:r>
              <a:rPr lang="en-US" altLang="zh-CN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-</a:t>
            </a:r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按钮含义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6" name="内容占位符 3"/>
          <p:cNvSpPr>
            <a:spLocks noGrp="1"/>
          </p:cNvSpPr>
          <p:nvPr>
            <p:ph idx="1"/>
          </p:nvPr>
        </p:nvSpPr>
        <p:spPr>
          <a:xfrm>
            <a:off x="623390" y="1171477"/>
            <a:ext cx="10912117" cy="5563431"/>
          </a:xfrm>
        </p:spPr>
        <p:txBody>
          <a:bodyPr>
            <a:normAutofit/>
          </a:bodyPr>
          <a:lstStyle/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6）http的解码功能</a:t>
            </a:r>
            <a:endParaRPr lang="en-US" altLang="zh-CN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7）设置要保存的会话数量，数量越多，占用内存越大</a:t>
            </a: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8）指定要监听的数据的来源</a:t>
            </a:r>
            <a:endParaRPr lang="en-US" altLang="zh-CN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9）查找指定内容</a:t>
            </a:r>
            <a:endParaRPr lang="en-US" altLang="zh-CN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10）保存当前内容</a:t>
            </a:r>
            <a:endParaRPr lang="en-US" altLang="zh-CN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11）屏幕截图和倒计时</a:t>
            </a:r>
            <a:endParaRPr lang="en-US" altLang="zh-CN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12）打开指定浏览器</a:t>
            </a:r>
            <a:endParaRPr lang="en-US" altLang="zh-CN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13）清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除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浏览器缓存</a:t>
            </a:r>
            <a:endParaRPr lang="en-US" altLang="zh-CN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14）命令行输入</a:t>
            </a:r>
            <a:endParaRPr lang="en-US" altLang="zh-CN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     help  获取所有的命令行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说明</a:t>
            </a:r>
            <a:endParaRPr lang="en-US" altLang="zh-CN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    select image   选择所有的图片</a:t>
            </a:r>
            <a:endParaRPr lang="en-US" altLang="zh-CN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    select html      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选择所有网页文件</a:t>
            </a:r>
            <a:endParaRPr lang="zh-CN" altLang="en-US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    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select javascript    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选择所有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javascript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文件</a:t>
            </a:r>
            <a:endParaRPr lang="zh-CN" altLang="en-US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15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选择监控类型，此处与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8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不同</a:t>
            </a:r>
            <a:endParaRPr lang="zh-CN" altLang="en-US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        如：同时打开两个浏览器，那么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8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就可以指定只监控其中一个浏览器；但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15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不能，因为两个浏览器都属于同种类型，都是浏览器</a:t>
            </a:r>
            <a:endParaRPr lang="zh-CN" altLang="en-US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16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设置断点类型</a:t>
            </a:r>
            <a:endParaRPr lang="zh-CN" altLang="en-US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17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获取记录的数量</a:t>
            </a:r>
            <a:endParaRPr lang="zh-CN" altLang="en-US" sz="1400" dirty="0" smtClean="0">
              <a:solidFill>
                <a:srgbClr val="000000"/>
              </a:solidFill>
            </a:endParaRPr>
          </a:p>
          <a:p>
            <a:pPr marL="0" indent="0">
              <a:buClr>
                <a:srgbClr val="000000"/>
              </a:buClr>
              <a:buFont typeface="+mj-ea"/>
              <a:buNone/>
            </a:pPr>
            <a:endParaRPr lang="zh-CN" altLang="en-US" sz="1400" dirty="0"/>
          </a:p>
          <a:p>
            <a:pPr marL="0" algn="l">
              <a:lnSpc>
                <a:spcPts val="2760"/>
              </a:lnSpc>
              <a:buClr>
                <a:srgbClr val="000000"/>
              </a:buClr>
              <a:buFont typeface="+mj-ea"/>
              <a:buNone/>
            </a:pPr>
            <a:endParaRPr lang="en-US" altLang="zh-CN" dirty="0" smtClean="0">
              <a:solidFill>
                <a:srgbClr val="000000"/>
              </a:solidFill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444085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fidder之session栏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pic>
        <p:nvPicPr>
          <p:cNvPr id="5" name="内容占位符 4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64724" y="1332768"/>
            <a:ext cx="7588250" cy="4653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1574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session栏-字段含义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623391" y="1251634"/>
            <a:ext cx="10929701" cy="5166751"/>
          </a:xfrm>
        </p:spPr>
        <p:txBody>
          <a:bodyPr>
            <a:normAutofit/>
          </a:bodyPr>
          <a:lstStyle/>
          <a:p>
            <a:pPr marL="0" indent="0" fontAlgn="auto">
              <a:lnSpc>
                <a:spcPts val="24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# 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抓取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httprequest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的顺序，从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1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开始依次递增</a:t>
            </a: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indent="0" fontAlgn="auto">
              <a:lnSpc>
                <a:spcPts val="24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Result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http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状态码</a:t>
            </a: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indent="0" fontAlgn="auto">
              <a:lnSpc>
                <a:spcPts val="24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Protocol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请求使用的协议，如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http/https/ftp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等</a:t>
            </a: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indent="0" fontAlgn="auto">
              <a:lnSpc>
                <a:spcPts val="24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Host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请求地址的主机名</a:t>
            </a: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indent="0" fontAlgn="auto">
              <a:lnSpc>
                <a:spcPts val="24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URL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请求资源位置</a:t>
            </a: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indent="0" fontAlgn="auto">
              <a:lnSpc>
                <a:spcPts val="24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Body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该请求的大小</a:t>
            </a: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indent="0" fontAlgn="auto">
              <a:lnSpc>
                <a:spcPts val="24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Caching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请求的缓存过期时间或者缓存控制值</a:t>
            </a: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indent="0" fontAlgn="auto">
              <a:lnSpc>
                <a:spcPts val="24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Content-Type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请求响应的类型</a:t>
            </a: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indent="0" fontAlgn="auto">
              <a:lnSpc>
                <a:spcPts val="24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Process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发送此请求的进程：进程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ID</a:t>
            </a:r>
            <a:endParaRPr lang="en-US" altLang="zh-CN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indent="0" fontAlgn="auto">
              <a:lnSpc>
                <a:spcPts val="24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Comments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允许用户为此会话添加备注</a:t>
            </a: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indent="0" fontAlgn="auto">
              <a:lnSpc>
                <a:spcPts val="24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Custom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允许用户设置自定义值</a:t>
            </a:r>
            <a:endParaRPr lang="en-US" altLang="zh-CN" dirty="0" smtClean="0">
              <a:solidFill>
                <a:srgbClr val="000000"/>
              </a:solidFill>
            </a:endParaRPr>
          </a:p>
          <a:p>
            <a:pPr marL="0" indent="0" fontAlgn="auto">
              <a:lnSpc>
                <a:spcPts val="2480"/>
              </a:lnSpc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78225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session栏-图标含义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1" y="1490199"/>
            <a:ext cx="5572125" cy="462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3761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fiddler界面-request栏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pic>
        <p:nvPicPr>
          <p:cNvPr id="4" name="内容占位符 2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189123" y="1354357"/>
            <a:ext cx="6429375" cy="498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56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zh-CN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目录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4058670" y="1324189"/>
            <a:ext cx="3333420" cy="599095"/>
            <a:chOff x="2683712" y="4058571"/>
            <a:chExt cx="3233396" cy="317306"/>
          </a:xfrm>
        </p:grpSpPr>
        <p:sp>
          <p:nvSpPr>
            <p:cNvPr id="5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1" name="五边形 50"/>
            <p:cNvSpPr/>
            <p:nvPr/>
          </p:nvSpPr>
          <p:spPr>
            <a:xfrm rot="10800000">
              <a:off x="2683712" y="4058573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2" name="椭圆 51"/>
          <p:cNvSpPr/>
          <p:nvPr/>
        </p:nvSpPr>
        <p:spPr>
          <a:xfrm>
            <a:off x="3619432" y="130119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1</a:t>
            </a:r>
            <a:endParaRPr lang="zh-CN" altLang="en-US" sz="4800" dirty="0"/>
          </a:p>
        </p:txBody>
      </p:sp>
      <p:grpSp>
        <p:nvGrpSpPr>
          <p:cNvPr id="53" name="组合 52"/>
          <p:cNvGrpSpPr/>
          <p:nvPr/>
        </p:nvGrpSpPr>
        <p:grpSpPr>
          <a:xfrm>
            <a:off x="4058670" y="2294284"/>
            <a:ext cx="3333420" cy="599092"/>
            <a:chOff x="2683712" y="4058571"/>
            <a:chExt cx="3233396" cy="317304"/>
          </a:xfrm>
        </p:grpSpPr>
        <p:sp>
          <p:nvSpPr>
            <p:cNvPr id="54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5" name="五边形 54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6" name="椭圆 55"/>
          <p:cNvSpPr/>
          <p:nvPr/>
        </p:nvSpPr>
        <p:spPr>
          <a:xfrm>
            <a:off x="3619432" y="2271283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2</a:t>
            </a:r>
            <a:endParaRPr lang="zh-CN" altLang="en-US" sz="4800" dirty="0"/>
          </a:p>
        </p:txBody>
      </p:sp>
      <p:grpSp>
        <p:nvGrpSpPr>
          <p:cNvPr id="57" name="组合 56"/>
          <p:cNvGrpSpPr/>
          <p:nvPr/>
        </p:nvGrpSpPr>
        <p:grpSpPr>
          <a:xfrm>
            <a:off x="4058670" y="3264369"/>
            <a:ext cx="3333420" cy="599092"/>
            <a:chOff x="2683712" y="4058571"/>
            <a:chExt cx="3233396" cy="317304"/>
          </a:xfrm>
        </p:grpSpPr>
        <p:sp>
          <p:nvSpPr>
            <p:cNvPr id="58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9" name="五边形 58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0" name="椭圆 59"/>
          <p:cNvSpPr/>
          <p:nvPr/>
        </p:nvSpPr>
        <p:spPr>
          <a:xfrm>
            <a:off x="3619432" y="324136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3</a:t>
            </a:r>
            <a:endParaRPr lang="zh-CN" altLang="en-US" sz="4800" dirty="0"/>
          </a:p>
        </p:txBody>
      </p:sp>
      <p:grpSp>
        <p:nvGrpSpPr>
          <p:cNvPr id="61" name="组合 60"/>
          <p:cNvGrpSpPr/>
          <p:nvPr/>
        </p:nvGrpSpPr>
        <p:grpSpPr>
          <a:xfrm>
            <a:off x="4058670" y="4235077"/>
            <a:ext cx="3333420" cy="607199"/>
            <a:chOff x="2683712" y="4058571"/>
            <a:chExt cx="3233396" cy="317304"/>
          </a:xfrm>
        </p:grpSpPr>
        <p:sp>
          <p:nvSpPr>
            <p:cNvPr id="62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3" name="五边形 62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4" name="椭圆 63"/>
          <p:cNvSpPr/>
          <p:nvPr/>
        </p:nvSpPr>
        <p:spPr>
          <a:xfrm>
            <a:off x="3619432" y="4211453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4</a:t>
            </a:r>
            <a:endParaRPr lang="zh-CN" altLang="en-US" sz="4800" dirty="0"/>
          </a:p>
        </p:txBody>
      </p:sp>
      <p:grpSp>
        <p:nvGrpSpPr>
          <p:cNvPr id="65" name="组合 64"/>
          <p:cNvGrpSpPr/>
          <p:nvPr/>
        </p:nvGrpSpPr>
        <p:grpSpPr>
          <a:xfrm>
            <a:off x="4058670" y="5190268"/>
            <a:ext cx="3333420" cy="607199"/>
            <a:chOff x="2683712" y="4058571"/>
            <a:chExt cx="3233396" cy="317304"/>
          </a:xfrm>
        </p:grpSpPr>
        <p:sp>
          <p:nvSpPr>
            <p:cNvPr id="66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7" name="五边形 66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8" name="椭圆 67"/>
          <p:cNvSpPr/>
          <p:nvPr/>
        </p:nvSpPr>
        <p:spPr>
          <a:xfrm>
            <a:off x="3619432" y="5166644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5</a:t>
            </a:r>
            <a:endParaRPr lang="zh-CN" altLang="en-US" sz="4800" dirty="0"/>
          </a:p>
        </p:txBody>
      </p:sp>
      <p:grpSp>
        <p:nvGrpSpPr>
          <p:cNvPr id="69" name="组合 68"/>
          <p:cNvGrpSpPr/>
          <p:nvPr/>
        </p:nvGrpSpPr>
        <p:grpSpPr>
          <a:xfrm>
            <a:off x="4058670" y="6145459"/>
            <a:ext cx="3333420" cy="630200"/>
            <a:chOff x="2683712" y="4058571"/>
            <a:chExt cx="3233396" cy="317304"/>
          </a:xfrm>
        </p:grpSpPr>
        <p:sp>
          <p:nvSpPr>
            <p:cNvPr id="7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71" name="五边形 70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72" name="椭圆 71"/>
          <p:cNvSpPr/>
          <p:nvPr/>
        </p:nvSpPr>
        <p:spPr>
          <a:xfrm>
            <a:off x="3619432" y="6121835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6</a:t>
            </a:r>
            <a:endParaRPr lang="zh-CN" altLang="en-US" sz="4800" dirty="0"/>
          </a:p>
        </p:txBody>
      </p:sp>
      <p:sp>
        <p:nvSpPr>
          <p:cNvPr id="73" name="文本框 72"/>
          <p:cNvSpPr txBox="1"/>
          <p:nvPr/>
        </p:nvSpPr>
        <p:spPr bwMode="auto">
          <a:xfrm>
            <a:off x="4234423" y="1283473"/>
            <a:ext cx="2473999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457200" algn="ctr">
              <a:lnSpc>
                <a:spcPct val="150000"/>
              </a:lnSpc>
            </a:pPr>
            <a:r>
              <a:rPr lang="zh-CN" altLang="en-US" sz="2400" dirty="0" smtClean="0">
                <a:solidFill>
                  <a:srgbClr val="FF0000"/>
                </a:solidFill>
                <a:sym typeface="+mn-ea"/>
              </a:rPr>
              <a:t>预热</a:t>
            </a:r>
            <a:endParaRPr lang="zh-CN" altLang="en-US" sz="2400" b="1" dirty="0">
              <a:solidFill>
                <a:srgbClr val="FF0000"/>
              </a:solidFill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4" name="文本框 73"/>
          <p:cNvSpPr txBox="1"/>
          <p:nvPr/>
        </p:nvSpPr>
        <p:spPr bwMode="auto">
          <a:xfrm>
            <a:off x="4363153" y="2292883"/>
            <a:ext cx="2806234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</a:t>
            </a:r>
            <a:r>
              <a:rPr lang="zh-CN" altLang="en-US" sz="2400" dirty="0">
                <a:sym typeface="+mn-ea"/>
              </a:rPr>
              <a:t>iddler是</a:t>
            </a:r>
            <a:r>
              <a:rPr lang="zh-CN" altLang="en-US" sz="2400" dirty="0" smtClean="0">
                <a:sym typeface="+mn-ea"/>
              </a:rPr>
              <a:t>什么</a:t>
            </a:r>
            <a:endParaRPr lang="zh-CN" altLang="en-US" sz="2400" b="1" dirty="0" smtClean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5" name="文本框 74"/>
          <p:cNvSpPr txBox="1"/>
          <p:nvPr/>
        </p:nvSpPr>
        <p:spPr bwMode="auto">
          <a:xfrm>
            <a:off x="4157380" y="322235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界面</a:t>
            </a:r>
            <a:r>
              <a:rPr lang="zh-CN" altLang="en-US" sz="2400" dirty="0" smtClean="0">
                <a:sym typeface="+mn-ea"/>
              </a:rPr>
              <a:t>概况</a:t>
            </a:r>
            <a:endParaRPr lang="zh-CN" altLang="en-US" sz="2400" dirty="0"/>
          </a:p>
        </p:txBody>
      </p:sp>
      <p:sp>
        <p:nvSpPr>
          <p:cNvPr id="76" name="文本框 75"/>
          <p:cNvSpPr txBox="1"/>
          <p:nvPr/>
        </p:nvSpPr>
        <p:spPr bwMode="auto">
          <a:xfrm>
            <a:off x="4167452" y="4194932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抓包</a:t>
            </a:r>
            <a:r>
              <a:rPr lang="zh-CN" altLang="en-US" sz="2400" dirty="0" smtClean="0">
                <a:sym typeface="+mn-ea"/>
              </a:rPr>
              <a:t>简介</a:t>
            </a:r>
            <a:endParaRPr lang="zh-CN" altLang="en-US" sz="2400" dirty="0">
              <a:sym typeface="+mn-ea"/>
            </a:endParaRPr>
          </a:p>
        </p:txBody>
      </p:sp>
      <p:sp>
        <p:nvSpPr>
          <p:cNvPr id="77" name="文本框 76"/>
          <p:cNvSpPr txBox="1"/>
          <p:nvPr/>
        </p:nvSpPr>
        <p:spPr bwMode="auto">
          <a:xfrm>
            <a:off x="4167453" y="516501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内置命令</a:t>
            </a:r>
            <a:endParaRPr lang="zh-CN" altLang="en-US" sz="2400" dirty="0"/>
          </a:p>
        </p:txBody>
      </p:sp>
      <p:sp>
        <p:nvSpPr>
          <p:cNvPr id="78" name="文本框 77"/>
          <p:cNvSpPr txBox="1"/>
          <p:nvPr/>
        </p:nvSpPr>
        <p:spPr bwMode="auto">
          <a:xfrm>
            <a:off x="4360258" y="6098834"/>
            <a:ext cx="3391052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>
              <a:lnSpc>
                <a:spcPct val="150000"/>
              </a:lnSpc>
            </a:pPr>
            <a:r>
              <a:rPr lang="zh-CN" altLang="en-US" sz="2400" dirty="0">
                <a:sym typeface="+mn-ea"/>
              </a:rPr>
              <a:t>解密</a:t>
            </a:r>
            <a:r>
              <a:rPr lang="en-US" altLang="zh-CN" sz="2400" dirty="0">
                <a:sym typeface="+mn-ea"/>
              </a:rPr>
              <a:t>https</a:t>
            </a:r>
            <a:r>
              <a:rPr lang="zh-CN" altLang="en-US" sz="2400" dirty="0">
                <a:sym typeface="+mn-ea"/>
              </a:rPr>
              <a:t>的网络数据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fiddler界面-request栏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pic>
        <p:nvPicPr>
          <p:cNvPr id="4" name="内容占位符 2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189123" y="1354357"/>
            <a:ext cx="6429375" cy="498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6825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 smtClean="0">
                <a:sym typeface="+mn-ea"/>
              </a:rPr>
              <a:t>request栏</a:t>
            </a:r>
            <a:r>
              <a:rPr lang="en-US" altLang="zh-CN" sz="2400" b="1" dirty="0" smtClean="0">
                <a:sym typeface="+mn-ea"/>
              </a:rPr>
              <a:t>--</a:t>
            </a:r>
            <a:r>
              <a:rPr lang="zh-CN" altLang="en-US" sz="2400" b="1" dirty="0" smtClean="0">
                <a:sym typeface="+mn-ea"/>
              </a:rPr>
              <a:t>字段含义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5" name="内容占位符 2"/>
          <p:cNvSpPr/>
          <p:nvPr/>
        </p:nvSpPr>
        <p:spPr>
          <a:xfrm>
            <a:off x="623390" y="1197415"/>
            <a:ext cx="10912117" cy="51841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58140" indent="-35814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88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75970" indent="-29845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67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9380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46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7132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4884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62636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10388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58140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05892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ts val="248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1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）用于查看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http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协议相应时间，主要通过这个工具来进行性能上的优化</a:t>
            </a:r>
          </a:p>
          <a:p>
            <a:pPr marL="0" indent="0" fontAlgn="auto">
              <a:lnSpc>
                <a:spcPts val="248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2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）用于查看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http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请求的发送内容及响应内容</a:t>
            </a:r>
          </a:p>
          <a:p>
            <a:pPr marL="0" indent="0" fontAlgn="auto">
              <a:lnSpc>
                <a:spcPts val="248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3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）用于将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http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请求重定向为指定的返回类型</a:t>
            </a:r>
          </a:p>
          <a:p>
            <a:pPr marL="0" indent="0" fontAlgn="auto">
              <a:lnSpc>
                <a:spcPts val="248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4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）伪造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http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请求内容</a:t>
            </a:r>
          </a:p>
          <a:p>
            <a:pPr marL="0" indent="0" fontAlgn="auto">
              <a:lnSpc>
                <a:spcPts val="248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5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）这个是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fiddler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控件，用于通过脚本控制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http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，使用语言为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jscript</a:t>
            </a:r>
          </a:p>
          <a:p>
            <a:pPr marL="0" indent="0" fontAlgn="auto">
              <a:lnSpc>
                <a:spcPts val="248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6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）日志文件</a:t>
            </a:r>
          </a:p>
          <a:p>
            <a:pPr marL="0" indent="0" fontAlgn="auto">
              <a:lnSpc>
                <a:spcPts val="248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7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）过滤指定内容</a:t>
            </a:r>
          </a:p>
          <a:p>
            <a:pPr marL="0" indent="0" fontAlgn="auto">
              <a:lnSpc>
                <a:spcPts val="248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8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）性能测试工具，同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</a:rPr>
              <a:t>chrome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</a:rPr>
              <a:t>工具效果相似</a:t>
            </a:r>
          </a:p>
        </p:txBody>
      </p:sp>
    </p:spTree>
    <p:extLst>
      <p:ext uri="{BB962C8B-B14F-4D97-AF65-F5344CB8AC3E}">
        <p14:creationId xmlns:p14="http://schemas.microsoft.com/office/powerpoint/2010/main" val="17860275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request栏之filters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4" name="内容占位符 2"/>
          <p:cNvSpPr/>
          <p:nvPr/>
        </p:nvSpPr>
        <p:spPr>
          <a:xfrm>
            <a:off x="623391" y="1118284"/>
            <a:ext cx="10903324" cy="56430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58140" indent="-35814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88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75970" indent="-29845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67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9380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46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7132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4884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62636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10388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58140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05892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fontAlgn="auto">
              <a:lnSpc>
                <a:spcPts val="248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      Filters 是过滤请求用的，左边的窗口不断的更新，当你想看你系统的请求的时候，你刷新一下浏览器，一大片不知道哪来请求，看着碍眼，它还一直刷新你的屏幕。这个时候通过过滤规则来过滤掉那些不想看到的请求。</a:t>
            </a:r>
          </a:p>
          <a:p>
            <a:pPr marL="0" algn="l" fontAlgn="auto">
              <a:lnSpc>
                <a:spcPts val="248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8803" y="1877743"/>
            <a:ext cx="5951855" cy="4763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7858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filters请求过滤规则设置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5" name="内容占位符 2"/>
          <p:cNvSpPr/>
          <p:nvPr/>
        </p:nvSpPr>
        <p:spPr>
          <a:xfrm>
            <a:off x="623391" y="1197415"/>
            <a:ext cx="11149330" cy="58121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58140" indent="-35814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88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75970" indent="-29845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67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9380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46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7132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4884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62636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10388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58140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058920" indent="-238760" algn="l" defTabSz="476885" rtl="0" eaLnBrk="1" latinLnBrk="0" hangingPunct="1">
              <a:spcBef>
                <a:spcPts val="1045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panose="05040102010807070707" charset="2"/>
              <a:buChar char=""/>
              <a:defRPr sz="12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勾选左上角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User Filters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开启过滤器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 下方有两个最常用的过滤条件：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Zone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、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Host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 1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Zone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指定只显示内网（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Intranet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或互联网（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Internet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的内容：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   2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Host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指定显示某个域名下的会话：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     如上图，框内为黄色：表示修改未生效，点击输入框右上角：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“changes not yet saved. ”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即可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0536" y="2251612"/>
            <a:ext cx="4657090" cy="128587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536" y="4270131"/>
            <a:ext cx="4704715" cy="133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4624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zh-CN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目录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4058670" y="1324189"/>
            <a:ext cx="3333420" cy="599095"/>
            <a:chOff x="2683712" y="4058571"/>
            <a:chExt cx="3233396" cy="317306"/>
          </a:xfrm>
        </p:grpSpPr>
        <p:sp>
          <p:nvSpPr>
            <p:cNvPr id="5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1" name="五边形 50"/>
            <p:cNvSpPr/>
            <p:nvPr/>
          </p:nvSpPr>
          <p:spPr>
            <a:xfrm rot="10800000">
              <a:off x="2683712" y="4058573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2" name="椭圆 51"/>
          <p:cNvSpPr/>
          <p:nvPr/>
        </p:nvSpPr>
        <p:spPr>
          <a:xfrm>
            <a:off x="3619432" y="130119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1</a:t>
            </a:r>
            <a:endParaRPr lang="zh-CN" altLang="en-US" sz="4800" dirty="0"/>
          </a:p>
        </p:txBody>
      </p:sp>
      <p:grpSp>
        <p:nvGrpSpPr>
          <p:cNvPr id="53" name="组合 52"/>
          <p:cNvGrpSpPr/>
          <p:nvPr/>
        </p:nvGrpSpPr>
        <p:grpSpPr>
          <a:xfrm>
            <a:off x="4058670" y="2294284"/>
            <a:ext cx="3333420" cy="599092"/>
            <a:chOff x="2683712" y="4058571"/>
            <a:chExt cx="3233396" cy="317304"/>
          </a:xfrm>
        </p:grpSpPr>
        <p:sp>
          <p:nvSpPr>
            <p:cNvPr id="54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5" name="五边形 54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6" name="椭圆 55"/>
          <p:cNvSpPr/>
          <p:nvPr/>
        </p:nvSpPr>
        <p:spPr>
          <a:xfrm>
            <a:off x="3619432" y="2271283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2</a:t>
            </a:r>
            <a:endParaRPr lang="zh-CN" altLang="en-US" sz="4800" dirty="0"/>
          </a:p>
        </p:txBody>
      </p:sp>
      <p:grpSp>
        <p:nvGrpSpPr>
          <p:cNvPr id="57" name="组合 56"/>
          <p:cNvGrpSpPr/>
          <p:nvPr/>
        </p:nvGrpSpPr>
        <p:grpSpPr>
          <a:xfrm>
            <a:off x="4058670" y="3264369"/>
            <a:ext cx="3333420" cy="599092"/>
            <a:chOff x="2683712" y="4058571"/>
            <a:chExt cx="3233396" cy="317304"/>
          </a:xfrm>
        </p:grpSpPr>
        <p:sp>
          <p:nvSpPr>
            <p:cNvPr id="58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9" name="五边形 58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0" name="椭圆 59"/>
          <p:cNvSpPr/>
          <p:nvPr/>
        </p:nvSpPr>
        <p:spPr>
          <a:xfrm>
            <a:off x="3619432" y="324136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3</a:t>
            </a:r>
            <a:endParaRPr lang="zh-CN" altLang="en-US" sz="4800" dirty="0"/>
          </a:p>
        </p:txBody>
      </p:sp>
      <p:grpSp>
        <p:nvGrpSpPr>
          <p:cNvPr id="61" name="组合 60"/>
          <p:cNvGrpSpPr/>
          <p:nvPr/>
        </p:nvGrpSpPr>
        <p:grpSpPr>
          <a:xfrm>
            <a:off x="4058670" y="4235077"/>
            <a:ext cx="3333420" cy="607199"/>
            <a:chOff x="2683712" y="4058571"/>
            <a:chExt cx="3233396" cy="317304"/>
          </a:xfrm>
        </p:grpSpPr>
        <p:sp>
          <p:nvSpPr>
            <p:cNvPr id="62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3" name="五边形 62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4" name="椭圆 63"/>
          <p:cNvSpPr/>
          <p:nvPr/>
        </p:nvSpPr>
        <p:spPr>
          <a:xfrm>
            <a:off x="3619432" y="4211453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4</a:t>
            </a:r>
            <a:endParaRPr lang="zh-CN" altLang="en-US" sz="4800" dirty="0"/>
          </a:p>
        </p:txBody>
      </p:sp>
      <p:grpSp>
        <p:nvGrpSpPr>
          <p:cNvPr id="65" name="组合 64"/>
          <p:cNvGrpSpPr/>
          <p:nvPr/>
        </p:nvGrpSpPr>
        <p:grpSpPr>
          <a:xfrm>
            <a:off x="4058670" y="5190268"/>
            <a:ext cx="3333420" cy="607199"/>
            <a:chOff x="2683712" y="4058571"/>
            <a:chExt cx="3233396" cy="317304"/>
          </a:xfrm>
        </p:grpSpPr>
        <p:sp>
          <p:nvSpPr>
            <p:cNvPr id="66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7" name="五边形 66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8" name="椭圆 67"/>
          <p:cNvSpPr/>
          <p:nvPr/>
        </p:nvSpPr>
        <p:spPr>
          <a:xfrm>
            <a:off x="3619432" y="5166644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5</a:t>
            </a:r>
            <a:endParaRPr lang="zh-CN" altLang="en-US" sz="4800" dirty="0"/>
          </a:p>
        </p:txBody>
      </p:sp>
      <p:grpSp>
        <p:nvGrpSpPr>
          <p:cNvPr id="69" name="组合 68"/>
          <p:cNvGrpSpPr/>
          <p:nvPr/>
        </p:nvGrpSpPr>
        <p:grpSpPr>
          <a:xfrm>
            <a:off x="4058670" y="6145459"/>
            <a:ext cx="3333420" cy="630200"/>
            <a:chOff x="2683712" y="4058571"/>
            <a:chExt cx="3233396" cy="317304"/>
          </a:xfrm>
        </p:grpSpPr>
        <p:sp>
          <p:nvSpPr>
            <p:cNvPr id="7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71" name="五边形 70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72" name="椭圆 71"/>
          <p:cNvSpPr/>
          <p:nvPr/>
        </p:nvSpPr>
        <p:spPr>
          <a:xfrm>
            <a:off x="3619432" y="6121835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6</a:t>
            </a:r>
            <a:endParaRPr lang="zh-CN" altLang="en-US" sz="4800" dirty="0"/>
          </a:p>
        </p:txBody>
      </p:sp>
      <p:sp>
        <p:nvSpPr>
          <p:cNvPr id="73" name="文本框 72"/>
          <p:cNvSpPr txBox="1"/>
          <p:nvPr/>
        </p:nvSpPr>
        <p:spPr bwMode="auto">
          <a:xfrm>
            <a:off x="4234423" y="1283473"/>
            <a:ext cx="2473999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457200" algn="ctr">
              <a:lnSpc>
                <a:spcPct val="150000"/>
              </a:lnSpc>
            </a:pPr>
            <a:r>
              <a:rPr lang="zh-CN" altLang="en-US" sz="2400" dirty="0" smtClean="0">
                <a:sym typeface="+mn-ea"/>
              </a:rPr>
              <a:t>预热</a:t>
            </a:r>
            <a:endParaRPr lang="zh-CN" altLang="en-US" sz="2400" b="1" dirty="0"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4" name="文本框 73"/>
          <p:cNvSpPr txBox="1"/>
          <p:nvPr/>
        </p:nvSpPr>
        <p:spPr bwMode="auto">
          <a:xfrm>
            <a:off x="4363153" y="2292883"/>
            <a:ext cx="2806234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</a:t>
            </a:r>
            <a:r>
              <a:rPr lang="zh-CN" altLang="en-US" sz="2400" dirty="0">
                <a:sym typeface="+mn-ea"/>
              </a:rPr>
              <a:t>iddler是</a:t>
            </a:r>
            <a:r>
              <a:rPr lang="zh-CN" altLang="en-US" sz="2400" dirty="0" smtClean="0">
                <a:sym typeface="+mn-ea"/>
              </a:rPr>
              <a:t>什么</a:t>
            </a:r>
            <a:endParaRPr lang="zh-CN" altLang="en-US" sz="2400" b="1" dirty="0" smtClean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5" name="文本框 74"/>
          <p:cNvSpPr txBox="1"/>
          <p:nvPr/>
        </p:nvSpPr>
        <p:spPr bwMode="auto">
          <a:xfrm>
            <a:off x="4157380" y="322235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界面</a:t>
            </a:r>
            <a:r>
              <a:rPr lang="zh-CN" altLang="en-US" sz="2400" dirty="0" smtClean="0">
                <a:sym typeface="+mn-ea"/>
              </a:rPr>
              <a:t>概况</a:t>
            </a:r>
            <a:endParaRPr lang="zh-CN" altLang="en-US" sz="2400" dirty="0"/>
          </a:p>
        </p:txBody>
      </p:sp>
      <p:sp>
        <p:nvSpPr>
          <p:cNvPr id="76" name="文本框 75"/>
          <p:cNvSpPr txBox="1"/>
          <p:nvPr/>
        </p:nvSpPr>
        <p:spPr bwMode="auto">
          <a:xfrm>
            <a:off x="4167452" y="4194932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olidFill>
                  <a:srgbClr val="FF0000"/>
                </a:solidFill>
                <a:sym typeface="+mn-ea"/>
              </a:rPr>
              <a:t>fiddler</a:t>
            </a:r>
            <a:r>
              <a:rPr lang="zh-CN" altLang="en-US" sz="2400" dirty="0">
                <a:solidFill>
                  <a:srgbClr val="FF0000"/>
                </a:solidFill>
                <a:sym typeface="+mn-ea"/>
              </a:rPr>
              <a:t>抓包</a:t>
            </a:r>
            <a:r>
              <a:rPr lang="zh-CN" altLang="en-US" sz="2400" dirty="0" smtClean="0">
                <a:solidFill>
                  <a:srgbClr val="FF0000"/>
                </a:solidFill>
                <a:sym typeface="+mn-ea"/>
              </a:rPr>
              <a:t>简介</a:t>
            </a:r>
            <a:endParaRPr lang="zh-CN" altLang="en-US" sz="2400" dirty="0">
              <a:solidFill>
                <a:srgbClr val="FF0000"/>
              </a:solidFill>
              <a:sym typeface="+mn-ea"/>
            </a:endParaRPr>
          </a:p>
        </p:txBody>
      </p:sp>
      <p:sp>
        <p:nvSpPr>
          <p:cNvPr id="77" name="文本框 76"/>
          <p:cNvSpPr txBox="1"/>
          <p:nvPr/>
        </p:nvSpPr>
        <p:spPr bwMode="auto">
          <a:xfrm>
            <a:off x="4167453" y="516501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内置命令</a:t>
            </a:r>
            <a:endParaRPr lang="zh-CN" altLang="en-US" sz="2400" dirty="0"/>
          </a:p>
        </p:txBody>
      </p:sp>
      <p:sp>
        <p:nvSpPr>
          <p:cNvPr id="78" name="文本框 77"/>
          <p:cNvSpPr txBox="1"/>
          <p:nvPr/>
        </p:nvSpPr>
        <p:spPr bwMode="auto">
          <a:xfrm>
            <a:off x="4360258" y="6098834"/>
            <a:ext cx="3391052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>
              <a:lnSpc>
                <a:spcPct val="150000"/>
              </a:lnSpc>
            </a:pPr>
            <a:r>
              <a:rPr lang="zh-CN" altLang="en-US" sz="2400" dirty="0">
                <a:sym typeface="+mn-ea"/>
              </a:rPr>
              <a:t>解密</a:t>
            </a:r>
            <a:r>
              <a:rPr lang="en-US" altLang="zh-CN" sz="2400" dirty="0">
                <a:sym typeface="+mn-ea"/>
              </a:rPr>
              <a:t>https</a:t>
            </a:r>
            <a:r>
              <a:rPr lang="zh-CN" altLang="en-US" sz="2400" dirty="0">
                <a:sym typeface="+mn-ea"/>
              </a:rPr>
              <a:t>的网络数据</a:t>
            </a:r>
          </a:p>
        </p:txBody>
      </p:sp>
    </p:spTree>
    <p:extLst>
      <p:ext uri="{BB962C8B-B14F-4D97-AF65-F5344CB8AC3E}">
        <p14:creationId xmlns:p14="http://schemas.microsoft.com/office/powerpoint/2010/main" val="31798414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composer-模拟请求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052" y="1124292"/>
            <a:ext cx="8799195" cy="5240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849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Inspectors-窗口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23391" y="1137530"/>
            <a:ext cx="10894532" cy="1055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fontAlgn="auto">
              <a:lnSpc>
                <a:spcPts val="2680"/>
              </a:lnSpc>
              <a:buClr>
                <a:srgbClr val="000000"/>
              </a:buClr>
              <a:buFont typeface="+mj-ea"/>
              <a:buNone/>
            </a:pPr>
            <a:r>
              <a:rPr 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  fiddler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抓包之前先确保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Capture Traffic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为开启状态：勾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File-&gt;Capture Traffic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，或直接点击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fiddler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左下角图标开启或关闭抓包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 </a:t>
            </a:r>
          </a:p>
          <a:p>
            <a:pPr marL="0" indent="0" fontAlgn="auto">
              <a:lnSpc>
                <a:spcPts val="26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 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Inspectors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页签：可使用不同格式查看请求和响应内容</a:t>
            </a:r>
            <a:endParaRPr lang="zh-CN" altLang="en-US" dirty="0" smtClean="0">
              <a:solidFill>
                <a:srgbClr val="000000"/>
              </a:solidFill>
            </a:endParaRPr>
          </a:p>
          <a:p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6850" y="1915600"/>
            <a:ext cx="8723630" cy="4803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7849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Inspectors之request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23391" y="1339020"/>
            <a:ext cx="10938494" cy="3779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  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请求（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request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部分字段详解：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1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headers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：显示客户端发送到服务器的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http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请求的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header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，显示为一个分级视图，包含了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web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客户端、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cookie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、传输状态等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2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Textview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：显示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post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请求的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body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部分为文本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3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webForms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：显示请求的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get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参数和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post body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内容。特别说明，这里的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body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应该是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application/x-www-form-urlen-code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格式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4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Hexview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：用十六进制数据显示请求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5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Auth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：显示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header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中的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Proxy-Authorization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和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Authorization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信息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6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Raw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：将整个请求显示为纯文本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7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Xml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：如果请求的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body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是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xml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格式，就是用分级的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xml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树来显示</a:t>
            </a:r>
          </a:p>
          <a:p>
            <a:pPr marL="0" indent="0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indent="0" fontAlgn="auto">
              <a:lnSpc>
                <a:spcPts val="2680"/>
              </a:lnSpc>
              <a:buClr>
                <a:srgbClr val="000000"/>
              </a:buClr>
              <a:buFont typeface="+mj-ea"/>
              <a:buNone/>
            </a:pPr>
            <a:endParaRPr lang="zh-CN" altLang="en-US" dirty="0" smtClean="0">
              <a:solidFill>
                <a:srgbClr val="000000"/>
              </a:solidFill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263572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Inspectors之response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23391" y="1274201"/>
            <a:ext cx="11000040" cy="52398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  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响应（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response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部分字段详解：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1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transFormer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显示响应的编码信息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2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headers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</a:t>
            </a:r>
            <a:r>
              <a:rPr 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用分级视图显示响应的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header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3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Textview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使用文本显示响应的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body</a:t>
            </a:r>
            <a:endParaRPr lang="zh-CN" altLang="en-US" sz="1400" dirty="0" smtClean="0">
              <a:solidFill>
                <a:srgbClr val="000000"/>
              </a:solidFill>
              <a:latin typeface="+mn-ea"/>
              <a:cs typeface="+mn-ea"/>
              <a:sym typeface="+mn-ea"/>
            </a:endParaRP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4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Imageview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如果请求是图片资源，显示响应的图片，左侧显示图片详细信息，下方显示缩放模式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5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Hexview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用十六进制数据显示响应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6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Webview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响应在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web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浏览器中的预览效果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7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Auth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显示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header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中的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Proxy-Authorization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和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Authorization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信息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8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Caching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显示此请求的缓存信息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9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Privacy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显示此请求的私密信息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10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Raw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将整个响应显示为纯文本</a:t>
            </a:r>
          </a:p>
          <a:p>
            <a:pPr marL="0" indent="0" fontAlgn="auto">
              <a:lnSpc>
                <a:spcPts val="278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11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Xml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如果响应的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body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是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xml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格式，就是用分级的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xml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树来显示</a:t>
            </a:r>
          </a:p>
          <a:p>
            <a:pPr marL="0" indent="0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indent="0" fontAlgn="auto">
              <a:lnSpc>
                <a:spcPts val="2680"/>
              </a:lnSpc>
              <a:buClr>
                <a:srgbClr val="000000"/>
              </a:buClr>
              <a:buFont typeface="+mj-ea"/>
              <a:buNone/>
            </a:pPr>
            <a:endParaRPr lang="zh-CN" altLang="en-US" dirty="0" smtClean="0">
              <a:solidFill>
                <a:srgbClr val="000000"/>
              </a:solidFill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445035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zh-CN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目录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4058670" y="1324189"/>
            <a:ext cx="3333420" cy="599095"/>
            <a:chOff x="2683712" y="4058571"/>
            <a:chExt cx="3233396" cy="317306"/>
          </a:xfrm>
        </p:grpSpPr>
        <p:sp>
          <p:nvSpPr>
            <p:cNvPr id="5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1" name="五边形 50"/>
            <p:cNvSpPr/>
            <p:nvPr/>
          </p:nvSpPr>
          <p:spPr>
            <a:xfrm rot="10800000">
              <a:off x="2683712" y="4058573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2" name="椭圆 51"/>
          <p:cNvSpPr/>
          <p:nvPr/>
        </p:nvSpPr>
        <p:spPr>
          <a:xfrm>
            <a:off x="3619432" y="130119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1</a:t>
            </a:r>
            <a:endParaRPr lang="zh-CN" altLang="en-US" sz="4800" dirty="0"/>
          </a:p>
        </p:txBody>
      </p:sp>
      <p:grpSp>
        <p:nvGrpSpPr>
          <p:cNvPr id="53" name="组合 52"/>
          <p:cNvGrpSpPr/>
          <p:nvPr/>
        </p:nvGrpSpPr>
        <p:grpSpPr>
          <a:xfrm>
            <a:off x="4058670" y="2294284"/>
            <a:ext cx="3333420" cy="599092"/>
            <a:chOff x="2683712" y="4058571"/>
            <a:chExt cx="3233396" cy="317304"/>
          </a:xfrm>
        </p:grpSpPr>
        <p:sp>
          <p:nvSpPr>
            <p:cNvPr id="54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5" name="五边形 54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6" name="椭圆 55"/>
          <p:cNvSpPr/>
          <p:nvPr/>
        </p:nvSpPr>
        <p:spPr>
          <a:xfrm>
            <a:off x="3619432" y="2271283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2</a:t>
            </a:r>
            <a:endParaRPr lang="zh-CN" altLang="en-US" sz="4800" dirty="0"/>
          </a:p>
        </p:txBody>
      </p:sp>
      <p:grpSp>
        <p:nvGrpSpPr>
          <p:cNvPr id="57" name="组合 56"/>
          <p:cNvGrpSpPr/>
          <p:nvPr/>
        </p:nvGrpSpPr>
        <p:grpSpPr>
          <a:xfrm>
            <a:off x="4058670" y="3264369"/>
            <a:ext cx="3333420" cy="599092"/>
            <a:chOff x="2683712" y="4058571"/>
            <a:chExt cx="3233396" cy="317304"/>
          </a:xfrm>
        </p:grpSpPr>
        <p:sp>
          <p:nvSpPr>
            <p:cNvPr id="58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9" name="五边形 58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0" name="椭圆 59"/>
          <p:cNvSpPr/>
          <p:nvPr/>
        </p:nvSpPr>
        <p:spPr>
          <a:xfrm>
            <a:off x="3619432" y="324136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3</a:t>
            </a:r>
            <a:endParaRPr lang="zh-CN" altLang="en-US" sz="4800" dirty="0"/>
          </a:p>
        </p:txBody>
      </p:sp>
      <p:grpSp>
        <p:nvGrpSpPr>
          <p:cNvPr id="61" name="组合 60"/>
          <p:cNvGrpSpPr/>
          <p:nvPr/>
        </p:nvGrpSpPr>
        <p:grpSpPr>
          <a:xfrm>
            <a:off x="4058670" y="4235077"/>
            <a:ext cx="3333420" cy="607199"/>
            <a:chOff x="2683712" y="4058571"/>
            <a:chExt cx="3233396" cy="317304"/>
          </a:xfrm>
        </p:grpSpPr>
        <p:sp>
          <p:nvSpPr>
            <p:cNvPr id="62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3" name="五边形 62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4" name="椭圆 63"/>
          <p:cNvSpPr/>
          <p:nvPr/>
        </p:nvSpPr>
        <p:spPr>
          <a:xfrm>
            <a:off x="3619432" y="4211453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4</a:t>
            </a:r>
            <a:endParaRPr lang="zh-CN" altLang="en-US" sz="4800" dirty="0"/>
          </a:p>
        </p:txBody>
      </p:sp>
      <p:grpSp>
        <p:nvGrpSpPr>
          <p:cNvPr id="65" name="组合 64"/>
          <p:cNvGrpSpPr/>
          <p:nvPr/>
        </p:nvGrpSpPr>
        <p:grpSpPr>
          <a:xfrm>
            <a:off x="4058670" y="5190268"/>
            <a:ext cx="3333420" cy="607199"/>
            <a:chOff x="2683712" y="4058571"/>
            <a:chExt cx="3233396" cy="317304"/>
          </a:xfrm>
        </p:grpSpPr>
        <p:sp>
          <p:nvSpPr>
            <p:cNvPr id="66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7" name="五边形 66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8" name="椭圆 67"/>
          <p:cNvSpPr/>
          <p:nvPr/>
        </p:nvSpPr>
        <p:spPr>
          <a:xfrm>
            <a:off x="3619432" y="5166644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5</a:t>
            </a:r>
            <a:endParaRPr lang="zh-CN" altLang="en-US" sz="4800" dirty="0"/>
          </a:p>
        </p:txBody>
      </p:sp>
      <p:grpSp>
        <p:nvGrpSpPr>
          <p:cNvPr id="69" name="组合 68"/>
          <p:cNvGrpSpPr/>
          <p:nvPr/>
        </p:nvGrpSpPr>
        <p:grpSpPr>
          <a:xfrm>
            <a:off x="4058670" y="6145459"/>
            <a:ext cx="3333420" cy="630200"/>
            <a:chOff x="2683712" y="4058571"/>
            <a:chExt cx="3233396" cy="317304"/>
          </a:xfrm>
        </p:grpSpPr>
        <p:sp>
          <p:nvSpPr>
            <p:cNvPr id="7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71" name="五边形 70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72" name="椭圆 71"/>
          <p:cNvSpPr/>
          <p:nvPr/>
        </p:nvSpPr>
        <p:spPr>
          <a:xfrm>
            <a:off x="3619432" y="6121835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6</a:t>
            </a:r>
            <a:endParaRPr lang="zh-CN" altLang="en-US" sz="4800" dirty="0"/>
          </a:p>
        </p:txBody>
      </p:sp>
      <p:sp>
        <p:nvSpPr>
          <p:cNvPr id="73" name="文本框 72"/>
          <p:cNvSpPr txBox="1"/>
          <p:nvPr/>
        </p:nvSpPr>
        <p:spPr bwMode="auto">
          <a:xfrm>
            <a:off x="4234423" y="1283473"/>
            <a:ext cx="2473999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457200" algn="ctr">
              <a:lnSpc>
                <a:spcPct val="150000"/>
              </a:lnSpc>
            </a:pPr>
            <a:r>
              <a:rPr lang="zh-CN" altLang="en-US" sz="2400" dirty="0" smtClean="0">
                <a:sym typeface="+mn-ea"/>
              </a:rPr>
              <a:t>预热</a:t>
            </a:r>
            <a:endParaRPr lang="zh-CN" altLang="en-US" sz="2400" b="1" dirty="0"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4" name="文本框 73"/>
          <p:cNvSpPr txBox="1"/>
          <p:nvPr/>
        </p:nvSpPr>
        <p:spPr bwMode="auto">
          <a:xfrm>
            <a:off x="4363153" y="2292883"/>
            <a:ext cx="2806234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</a:t>
            </a:r>
            <a:r>
              <a:rPr lang="zh-CN" altLang="en-US" sz="2400" dirty="0">
                <a:sym typeface="+mn-ea"/>
              </a:rPr>
              <a:t>iddler是</a:t>
            </a:r>
            <a:r>
              <a:rPr lang="zh-CN" altLang="en-US" sz="2400" dirty="0" smtClean="0">
                <a:sym typeface="+mn-ea"/>
              </a:rPr>
              <a:t>什么</a:t>
            </a:r>
            <a:endParaRPr lang="zh-CN" altLang="en-US" sz="2400" b="1" dirty="0" smtClean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5" name="文本框 74"/>
          <p:cNvSpPr txBox="1"/>
          <p:nvPr/>
        </p:nvSpPr>
        <p:spPr bwMode="auto">
          <a:xfrm>
            <a:off x="4157380" y="322235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界面</a:t>
            </a:r>
            <a:r>
              <a:rPr lang="zh-CN" altLang="en-US" sz="2400" dirty="0" smtClean="0">
                <a:sym typeface="+mn-ea"/>
              </a:rPr>
              <a:t>概况</a:t>
            </a:r>
            <a:endParaRPr lang="zh-CN" altLang="en-US" sz="2400" dirty="0"/>
          </a:p>
        </p:txBody>
      </p:sp>
      <p:sp>
        <p:nvSpPr>
          <p:cNvPr id="76" name="文本框 75"/>
          <p:cNvSpPr txBox="1"/>
          <p:nvPr/>
        </p:nvSpPr>
        <p:spPr bwMode="auto">
          <a:xfrm>
            <a:off x="4167452" y="4194932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抓包</a:t>
            </a:r>
            <a:r>
              <a:rPr lang="zh-CN" altLang="en-US" sz="2400" dirty="0" smtClean="0">
                <a:sym typeface="+mn-ea"/>
              </a:rPr>
              <a:t>简介</a:t>
            </a:r>
            <a:endParaRPr lang="zh-CN" altLang="en-US" sz="2400" dirty="0">
              <a:sym typeface="+mn-ea"/>
            </a:endParaRPr>
          </a:p>
        </p:txBody>
      </p:sp>
      <p:sp>
        <p:nvSpPr>
          <p:cNvPr id="77" name="文本框 76"/>
          <p:cNvSpPr txBox="1"/>
          <p:nvPr/>
        </p:nvSpPr>
        <p:spPr bwMode="auto">
          <a:xfrm>
            <a:off x="4167453" y="516501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olidFill>
                  <a:srgbClr val="FF0000"/>
                </a:solidFill>
                <a:sym typeface="+mn-ea"/>
              </a:rPr>
              <a:t>fiddler</a:t>
            </a:r>
            <a:r>
              <a:rPr lang="zh-CN" altLang="en-US" sz="2400" dirty="0">
                <a:solidFill>
                  <a:srgbClr val="FF0000"/>
                </a:solidFill>
                <a:sym typeface="+mn-ea"/>
              </a:rPr>
              <a:t>内置命令</a:t>
            </a:r>
            <a:endParaRPr lang="zh-CN" altLang="en-US" sz="2400" dirty="0">
              <a:solidFill>
                <a:srgbClr val="FF0000"/>
              </a:solidFill>
            </a:endParaRPr>
          </a:p>
        </p:txBody>
      </p:sp>
      <p:sp>
        <p:nvSpPr>
          <p:cNvPr id="78" name="文本框 77"/>
          <p:cNvSpPr txBox="1"/>
          <p:nvPr/>
        </p:nvSpPr>
        <p:spPr bwMode="auto">
          <a:xfrm>
            <a:off x="4360258" y="6098834"/>
            <a:ext cx="3391052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>
              <a:lnSpc>
                <a:spcPct val="150000"/>
              </a:lnSpc>
            </a:pPr>
            <a:r>
              <a:rPr lang="zh-CN" altLang="en-US" sz="2400" dirty="0">
                <a:sym typeface="+mn-ea"/>
              </a:rPr>
              <a:t>解密</a:t>
            </a:r>
            <a:r>
              <a:rPr lang="en-US" altLang="zh-CN" sz="2400" dirty="0">
                <a:sym typeface="+mn-ea"/>
              </a:rPr>
              <a:t>https</a:t>
            </a:r>
            <a:r>
              <a:rPr lang="zh-CN" altLang="en-US" sz="2400" dirty="0">
                <a:sym typeface="+mn-ea"/>
              </a:rPr>
              <a:t>的网络数据</a:t>
            </a:r>
          </a:p>
        </p:txBody>
      </p:sp>
    </p:spTree>
    <p:extLst>
      <p:ext uri="{BB962C8B-B14F-4D97-AF65-F5344CB8AC3E}">
        <p14:creationId xmlns:p14="http://schemas.microsoft.com/office/powerpoint/2010/main" val="34194768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已知的接口调试工具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23391" y="1458986"/>
            <a:ext cx="6914515" cy="258318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vertOverflow="overflow" horzOverflow="overflow" vert="horz" wrap="square" lIns="45718" tIns="45718" rIns="45718" bIns="45718" numCol="1" spcCol="38100" rtlCol="0" anchor="t" forceAA="0">
            <a:spAutoFit/>
          </a:bodyPr>
          <a:lstStyle/>
          <a:p>
            <a:pPr>
              <a:lnSpc>
                <a:spcPct val="150000"/>
              </a:lnSpc>
              <a:buFont typeface="Wingdings" panose="05000000000000000000" charset="0"/>
              <a:buChar char="l"/>
            </a:pPr>
            <a:r>
              <a:rPr kumimoji="0" lang="en-US" altLang="zh-CN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宋体" panose="02010600030101010101" pitchFamily="2" charset="-122"/>
                <a:ea typeface="宋体" panose="02010600030101010101" pitchFamily="2" charset="-122"/>
                <a:cs typeface="+mj-cs"/>
                <a:sym typeface="Helvetica"/>
              </a:rPr>
              <a:t>    </a:t>
            </a:r>
            <a:r>
              <a:rPr lang="en-US" altLang="zh-CN" dirty="0">
                <a:sym typeface="+mn-ea"/>
              </a:rPr>
              <a:t>Firebug</a:t>
            </a:r>
            <a:endParaRPr lang="en-US" altLang="zh-CN" dirty="0"/>
          </a:p>
          <a:p>
            <a:pPr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dirty="0">
                <a:sym typeface="+mn-ea"/>
              </a:rPr>
              <a:t>        Httpwatch</a:t>
            </a:r>
            <a:endParaRPr lang="en-US" altLang="zh-CN" dirty="0"/>
          </a:p>
          <a:p>
            <a:pPr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dirty="0">
                <a:sym typeface="+mn-ea"/>
              </a:rPr>
              <a:t>        postman</a:t>
            </a:r>
            <a:endParaRPr lang="en-US" altLang="zh-CN" dirty="0"/>
          </a:p>
          <a:p>
            <a:pPr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dirty="0">
                <a:sym typeface="+mn-ea"/>
              </a:rPr>
              <a:t>        fiddler</a:t>
            </a:r>
            <a:endParaRPr lang="en-US" altLang="zh-CN" dirty="0"/>
          </a:p>
          <a:p>
            <a:pPr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dirty="0">
                <a:sym typeface="+mn-ea"/>
              </a:rPr>
              <a:t>        charles</a:t>
            </a:r>
            <a:endParaRPr lang="en-US" altLang="zh-CN" dirty="0"/>
          </a:p>
          <a:p>
            <a:pPr marL="0" indent="0">
              <a:lnSpc>
                <a:spcPct val="150000"/>
              </a:lnSpc>
              <a:buFont typeface="Wingdings" panose="05000000000000000000" charset="0"/>
              <a:buNone/>
            </a:pPr>
            <a:r>
              <a:rPr lang="en-US" altLang="zh-CN" dirty="0">
                <a:sym typeface="+mn-ea"/>
              </a:rPr>
              <a:t>            .....</a:t>
            </a: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宋体" panose="02010600030101010101" pitchFamily="2" charset="-122"/>
              <a:ea typeface="宋体" panose="02010600030101010101" pitchFamily="2" charset="-122"/>
              <a:cs typeface="+mj-cs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6449212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zh-CN" sz="2400" b="1" dirty="0">
                <a:sym typeface="+mn-ea"/>
              </a:rPr>
              <a:t>fiddler内置命令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630" y="1198100"/>
            <a:ext cx="6266815" cy="466725"/>
          </a:xfrm>
          <a:prstGeom prst="rect">
            <a:avLst/>
          </a:prstGeom>
        </p:spPr>
      </p:pic>
      <p:graphicFrame>
        <p:nvGraphicFramePr>
          <p:cNvPr id="6" name="表格 5"/>
          <p:cNvGraphicFramePr/>
          <p:nvPr>
            <p:extLst>
              <p:ext uri="{D42A27DB-BD31-4B8C-83A1-F6EECF244321}">
                <p14:modId xmlns:p14="http://schemas.microsoft.com/office/powerpoint/2010/main" val="618281856"/>
              </p:ext>
            </p:extLst>
          </p:nvPr>
        </p:nvGraphicFramePr>
        <p:xfrm>
          <a:off x="686630" y="1810189"/>
          <a:ext cx="7950200" cy="49447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10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96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52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41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053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命令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对应请求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 dirty="0"/>
                        <a:t>介绍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示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66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 dirty="0"/>
                        <a:t>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问号后边跟一个字符串，可以匹配出包含这个字符串的请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？</a:t>
                      </a:r>
                      <a:r>
                        <a:rPr lang="en-US" altLang="zh-CN" sz="1400"/>
                        <a:t>goog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466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bod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大于号后面跟一个数字，可以匹配出请求大小，大于这个数字请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&gt;1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&l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bod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 dirty="0"/>
                        <a:t>小于号跟大于号相反，匹配出请求大小，小于这个数字的请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&lt;1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73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=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resu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等于号后面跟数字，可以匹配HTTP返回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=2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178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@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h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@后面跟Host，可以匹配域名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@www.baidu.c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640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sel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content-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select后面跟响应类型，可以匹配到相关的类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select im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608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c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清空当前所有请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c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8166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du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将所有请求打包成saz压缩包，保存到“我的文档\Fiddler2\Captures”目录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dum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35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开始监听请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sta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290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s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停止监听请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 dirty="0"/>
                        <a:t>sto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731463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zh-CN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目录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4058670" y="1324189"/>
            <a:ext cx="3333420" cy="599095"/>
            <a:chOff x="2683712" y="4058571"/>
            <a:chExt cx="3233396" cy="317306"/>
          </a:xfrm>
        </p:grpSpPr>
        <p:sp>
          <p:nvSpPr>
            <p:cNvPr id="5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1" name="五边形 50"/>
            <p:cNvSpPr/>
            <p:nvPr/>
          </p:nvSpPr>
          <p:spPr>
            <a:xfrm rot="10800000">
              <a:off x="2683712" y="4058573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2" name="椭圆 51"/>
          <p:cNvSpPr/>
          <p:nvPr/>
        </p:nvSpPr>
        <p:spPr>
          <a:xfrm>
            <a:off x="3619432" y="130119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1</a:t>
            </a:r>
            <a:endParaRPr lang="zh-CN" altLang="en-US" sz="4800" dirty="0"/>
          </a:p>
        </p:txBody>
      </p:sp>
      <p:grpSp>
        <p:nvGrpSpPr>
          <p:cNvPr id="53" name="组合 52"/>
          <p:cNvGrpSpPr/>
          <p:nvPr/>
        </p:nvGrpSpPr>
        <p:grpSpPr>
          <a:xfrm>
            <a:off x="4058670" y="2294284"/>
            <a:ext cx="3333420" cy="599092"/>
            <a:chOff x="2683712" y="4058571"/>
            <a:chExt cx="3233396" cy="317304"/>
          </a:xfrm>
        </p:grpSpPr>
        <p:sp>
          <p:nvSpPr>
            <p:cNvPr id="54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5" name="五边形 54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6" name="椭圆 55"/>
          <p:cNvSpPr/>
          <p:nvPr/>
        </p:nvSpPr>
        <p:spPr>
          <a:xfrm>
            <a:off x="3619432" y="2271283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2</a:t>
            </a:r>
            <a:endParaRPr lang="zh-CN" altLang="en-US" sz="4800" dirty="0"/>
          </a:p>
        </p:txBody>
      </p:sp>
      <p:grpSp>
        <p:nvGrpSpPr>
          <p:cNvPr id="57" name="组合 56"/>
          <p:cNvGrpSpPr/>
          <p:nvPr/>
        </p:nvGrpSpPr>
        <p:grpSpPr>
          <a:xfrm>
            <a:off x="4058670" y="3264369"/>
            <a:ext cx="3333420" cy="599092"/>
            <a:chOff x="2683712" y="4058571"/>
            <a:chExt cx="3233396" cy="317304"/>
          </a:xfrm>
        </p:grpSpPr>
        <p:sp>
          <p:nvSpPr>
            <p:cNvPr id="58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9" name="五边形 58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0" name="椭圆 59"/>
          <p:cNvSpPr/>
          <p:nvPr/>
        </p:nvSpPr>
        <p:spPr>
          <a:xfrm>
            <a:off x="3619432" y="324136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3</a:t>
            </a:r>
            <a:endParaRPr lang="zh-CN" altLang="en-US" sz="4800" dirty="0"/>
          </a:p>
        </p:txBody>
      </p:sp>
      <p:grpSp>
        <p:nvGrpSpPr>
          <p:cNvPr id="61" name="组合 60"/>
          <p:cNvGrpSpPr/>
          <p:nvPr/>
        </p:nvGrpSpPr>
        <p:grpSpPr>
          <a:xfrm>
            <a:off x="4058670" y="4235077"/>
            <a:ext cx="3333420" cy="607199"/>
            <a:chOff x="2683712" y="4058571"/>
            <a:chExt cx="3233396" cy="317304"/>
          </a:xfrm>
        </p:grpSpPr>
        <p:sp>
          <p:nvSpPr>
            <p:cNvPr id="62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3" name="五边形 62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4" name="椭圆 63"/>
          <p:cNvSpPr/>
          <p:nvPr/>
        </p:nvSpPr>
        <p:spPr>
          <a:xfrm>
            <a:off x="3619432" y="4211453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4</a:t>
            </a:r>
            <a:endParaRPr lang="zh-CN" altLang="en-US" sz="4800" dirty="0"/>
          </a:p>
        </p:txBody>
      </p:sp>
      <p:grpSp>
        <p:nvGrpSpPr>
          <p:cNvPr id="65" name="组合 64"/>
          <p:cNvGrpSpPr/>
          <p:nvPr/>
        </p:nvGrpSpPr>
        <p:grpSpPr>
          <a:xfrm>
            <a:off x="4058670" y="5190268"/>
            <a:ext cx="3333420" cy="607199"/>
            <a:chOff x="2683712" y="4058571"/>
            <a:chExt cx="3233396" cy="317304"/>
          </a:xfrm>
        </p:grpSpPr>
        <p:sp>
          <p:nvSpPr>
            <p:cNvPr id="66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7" name="五边形 66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8" name="椭圆 67"/>
          <p:cNvSpPr/>
          <p:nvPr/>
        </p:nvSpPr>
        <p:spPr>
          <a:xfrm>
            <a:off x="3619432" y="5166644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5</a:t>
            </a:r>
            <a:endParaRPr lang="zh-CN" altLang="en-US" sz="4800" dirty="0"/>
          </a:p>
        </p:txBody>
      </p:sp>
      <p:grpSp>
        <p:nvGrpSpPr>
          <p:cNvPr id="69" name="组合 68"/>
          <p:cNvGrpSpPr/>
          <p:nvPr/>
        </p:nvGrpSpPr>
        <p:grpSpPr>
          <a:xfrm>
            <a:off x="4058670" y="6145459"/>
            <a:ext cx="3333420" cy="630200"/>
            <a:chOff x="2683712" y="4058571"/>
            <a:chExt cx="3233396" cy="317304"/>
          </a:xfrm>
        </p:grpSpPr>
        <p:sp>
          <p:nvSpPr>
            <p:cNvPr id="7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71" name="五边形 70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72" name="椭圆 71"/>
          <p:cNvSpPr/>
          <p:nvPr/>
        </p:nvSpPr>
        <p:spPr>
          <a:xfrm>
            <a:off x="3619432" y="6121835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6</a:t>
            </a:r>
            <a:endParaRPr lang="zh-CN" altLang="en-US" sz="4800" dirty="0"/>
          </a:p>
        </p:txBody>
      </p:sp>
      <p:sp>
        <p:nvSpPr>
          <p:cNvPr id="73" name="文本框 72"/>
          <p:cNvSpPr txBox="1"/>
          <p:nvPr/>
        </p:nvSpPr>
        <p:spPr bwMode="auto">
          <a:xfrm>
            <a:off x="4234423" y="1283473"/>
            <a:ext cx="2473999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457200" algn="ctr">
              <a:lnSpc>
                <a:spcPct val="150000"/>
              </a:lnSpc>
            </a:pPr>
            <a:r>
              <a:rPr lang="zh-CN" altLang="en-US" sz="2400" dirty="0" smtClean="0">
                <a:sym typeface="+mn-ea"/>
              </a:rPr>
              <a:t>预热</a:t>
            </a:r>
            <a:endParaRPr lang="zh-CN" altLang="en-US" sz="2400" b="1" dirty="0"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4" name="文本框 73"/>
          <p:cNvSpPr txBox="1"/>
          <p:nvPr/>
        </p:nvSpPr>
        <p:spPr bwMode="auto">
          <a:xfrm>
            <a:off x="4363153" y="2292883"/>
            <a:ext cx="2806234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</a:t>
            </a:r>
            <a:r>
              <a:rPr lang="zh-CN" altLang="en-US" sz="2400" dirty="0">
                <a:sym typeface="+mn-ea"/>
              </a:rPr>
              <a:t>iddler是</a:t>
            </a:r>
            <a:r>
              <a:rPr lang="zh-CN" altLang="en-US" sz="2400" dirty="0" smtClean="0">
                <a:sym typeface="+mn-ea"/>
              </a:rPr>
              <a:t>什么</a:t>
            </a:r>
            <a:endParaRPr lang="zh-CN" altLang="en-US" sz="2400" b="1" dirty="0" smtClean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5" name="文本框 74"/>
          <p:cNvSpPr txBox="1"/>
          <p:nvPr/>
        </p:nvSpPr>
        <p:spPr bwMode="auto">
          <a:xfrm>
            <a:off x="4157380" y="322235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界面</a:t>
            </a:r>
            <a:r>
              <a:rPr lang="zh-CN" altLang="en-US" sz="2400" dirty="0" smtClean="0">
                <a:sym typeface="+mn-ea"/>
              </a:rPr>
              <a:t>概况</a:t>
            </a:r>
            <a:endParaRPr lang="zh-CN" altLang="en-US" sz="2400" dirty="0"/>
          </a:p>
        </p:txBody>
      </p:sp>
      <p:sp>
        <p:nvSpPr>
          <p:cNvPr id="76" name="文本框 75"/>
          <p:cNvSpPr txBox="1"/>
          <p:nvPr/>
        </p:nvSpPr>
        <p:spPr bwMode="auto">
          <a:xfrm>
            <a:off x="4167452" y="4194932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抓包</a:t>
            </a:r>
            <a:r>
              <a:rPr lang="zh-CN" altLang="en-US" sz="2400" dirty="0" smtClean="0">
                <a:sym typeface="+mn-ea"/>
              </a:rPr>
              <a:t>简介</a:t>
            </a:r>
            <a:endParaRPr lang="zh-CN" altLang="en-US" sz="2400" dirty="0">
              <a:sym typeface="+mn-ea"/>
            </a:endParaRPr>
          </a:p>
        </p:txBody>
      </p:sp>
      <p:sp>
        <p:nvSpPr>
          <p:cNvPr id="77" name="文本框 76"/>
          <p:cNvSpPr txBox="1"/>
          <p:nvPr/>
        </p:nvSpPr>
        <p:spPr bwMode="auto">
          <a:xfrm>
            <a:off x="4167453" y="516501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内置命令</a:t>
            </a:r>
            <a:endParaRPr lang="zh-CN" altLang="en-US" sz="2400" dirty="0"/>
          </a:p>
        </p:txBody>
      </p:sp>
      <p:sp>
        <p:nvSpPr>
          <p:cNvPr id="78" name="文本框 77"/>
          <p:cNvSpPr txBox="1"/>
          <p:nvPr/>
        </p:nvSpPr>
        <p:spPr bwMode="auto">
          <a:xfrm>
            <a:off x="4360258" y="6098834"/>
            <a:ext cx="3391052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>
              <a:lnSpc>
                <a:spcPct val="150000"/>
              </a:lnSpc>
            </a:pPr>
            <a:r>
              <a:rPr lang="zh-CN" altLang="en-US" sz="2400" dirty="0">
                <a:solidFill>
                  <a:srgbClr val="FF0000"/>
                </a:solidFill>
                <a:sym typeface="+mn-ea"/>
              </a:rPr>
              <a:t>解密</a:t>
            </a:r>
            <a:r>
              <a:rPr lang="en-US" altLang="zh-CN" sz="2400" dirty="0">
                <a:solidFill>
                  <a:srgbClr val="FF0000"/>
                </a:solidFill>
                <a:sym typeface="+mn-ea"/>
              </a:rPr>
              <a:t>https</a:t>
            </a:r>
            <a:r>
              <a:rPr lang="zh-CN" altLang="en-US" sz="2400" dirty="0">
                <a:solidFill>
                  <a:srgbClr val="FF0000"/>
                </a:solidFill>
                <a:sym typeface="+mn-ea"/>
              </a:rPr>
              <a:t>的网络数据</a:t>
            </a:r>
          </a:p>
        </p:txBody>
      </p:sp>
    </p:spTree>
    <p:extLst>
      <p:ext uri="{BB962C8B-B14F-4D97-AF65-F5344CB8AC3E}">
        <p14:creationId xmlns:p14="http://schemas.microsoft.com/office/powerpoint/2010/main" val="22276022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en-US" altLang="zh-CN" sz="2400" b="1" dirty="0">
                <a:sym typeface="+mn-ea"/>
              </a:rPr>
              <a:t>f</a:t>
            </a:r>
            <a:r>
              <a:rPr lang="zh-CN" altLang="zh-CN" sz="2400" b="1" dirty="0">
                <a:sym typeface="+mn-ea"/>
              </a:rPr>
              <a:t>iddler设置解密</a:t>
            </a:r>
            <a:r>
              <a:rPr lang="en-US" altLang="zh-CN" sz="2400" b="1" dirty="0">
                <a:sym typeface="+mn-ea"/>
              </a:rPr>
              <a:t>https</a:t>
            </a:r>
            <a:r>
              <a:rPr lang="zh-CN" altLang="zh-CN" sz="2400" b="1" dirty="0">
                <a:sym typeface="+mn-ea"/>
              </a:rPr>
              <a:t>的网络数据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623391" y="1179195"/>
            <a:ext cx="10730230" cy="5388659"/>
          </a:xfrm>
        </p:spPr>
        <p:txBody>
          <a:bodyPr>
            <a:noAutofit/>
          </a:bodyPr>
          <a:lstStyle/>
          <a:p>
            <a:pPr marL="0" indent="0" algn="l">
              <a:buClr>
                <a:srgbClr val="78BA32"/>
              </a:buClr>
              <a:buFont typeface="Wingdings" panose="05000000000000000000" charset="0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fiddler可以通过伪造CA证书来欺骗浏览器和服务器，从而实现解密https数据包的目的。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解密https需要手动开启，依次点击：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1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 Tools –&gt; Options –&gt;  HTTPS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2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勾选Decrypt HTTPS Traffic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3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）点击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yes--&gt;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弹出安全警告弹框，继续点击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“</a:t>
            </a:r>
            <a:r>
              <a:rPr lang="zh-CN" altLang="en-US" sz="1400" dirty="0" smtClean="0">
                <a:solidFill>
                  <a:srgbClr val="000000"/>
                </a:solidFill>
                <a:sym typeface="+mn-ea"/>
              </a:rPr>
              <a:t>是</a:t>
            </a:r>
            <a:r>
              <a:rPr lang="en-US" altLang="zh-CN" sz="1400" dirty="0" smtClean="0">
                <a:solidFill>
                  <a:srgbClr val="000000"/>
                </a:solidFill>
                <a:sym typeface="+mn-ea"/>
              </a:rPr>
              <a:t>”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293" y="2300018"/>
            <a:ext cx="5219065" cy="3542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12704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/>
            <a:r>
              <a:rPr lang="zh-CN" altLang="en-US" sz="2400" b="1" dirty="0"/>
              <a:t>小结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idx="1"/>
          </p:nvPr>
        </p:nvSpPr>
        <p:spPr>
          <a:xfrm>
            <a:off x="623391" y="1176313"/>
            <a:ext cx="10894532" cy="5004679"/>
          </a:xfrm>
        </p:spPr>
        <p:txBody>
          <a:bodyPr>
            <a:noAutofit/>
          </a:bodyPr>
          <a:lstStyle/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1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fiddler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中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response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乱码的解决方案如图所示</a:t>
            </a: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zh-CN" altLang="en-US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latin typeface="+mn-ea"/>
              <a:cs typeface="+mn-ea"/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latin typeface="+mn-ea"/>
              <a:cs typeface="+mn-ea"/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endParaRPr lang="en-US" altLang="zh-CN" sz="1400" dirty="0" smtClean="0">
              <a:solidFill>
                <a:srgbClr val="000000"/>
              </a:solidFill>
              <a:latin typeface="+mn-ea"/>
              <a:cs typeface="+mn-ea"/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2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fiddler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意外退出时，电脑不能上网了（曾经跳过的坑）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    </a:t>
            </a:r>
            <a:r>
              <a:rPr lang="zh-CN" sz="1400" b="1" dirty="0" smtClean="0">
                <a:solidFill>
                  <a:schemeClr val="accent2">
                    <a:lumMod val="75000"/>
                  </a:schemeClr>
                </a:solidFill>
                <a:latin typeface="+mn-ea"/>
                <a:cs typeface="+mn-ea"/>
                <a:sym typeface="+mn-ea"/>
              </a:rPr>
              <a:t>解决方法</a:t>
            </a:r>
            <a:r>
              <a:rPr 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重新启动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fiddler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就好了</a:t>
            </a:r>
            <a:endParaRPr lang="en-US" altLang="zh-CN" sz="1400" dirty="0" smtClean="0">
              <a:solidFill>
                <a:srgbClr val="000000"/>
              </a:solidFill>
              <a:latin typeface="+mn-ea"/>
              <a:cs typeface="+mn-ea"/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3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在小米手机上如果下载完直接点击证书选择安装，会提示：无法安装该证书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    </a:t>
            </a:r>
            <a:r>
              <a:rPr lang="zh-CN" altLang="en-US" sz="1400" b="1" dirty="0" smtClean="0">
                <a:solidFill>
                  <a:schemeClr val="accent2">
                    <a:lumMod val="75000"/>
                  </a:schemeClr>
                </a:solidFill>
                <a:latin typeface="+mn-ea"/>
                <a:cs typeface="+mn-ea"/>
                <a:sym typeface="+mn-ea"/>
              </a:rPr>
              <a:t>解决办法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：需在手机设置里选择从设备安装证书；步骤为：设置--更多设置--系统安全--从存储设备安装--找到下载的证书安装即可</a:t>
            </a: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4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）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fiddler抓取手机http或https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请求</a:t>
            </a:r>
            <a:endParaRPr lang="en-US" altLang="zh-CN" sz="1400" dirty="0" smtClean="0">
              <a:solidFill>
                <a:srgbClr val="000000"/>
              </a:solidFill>
              <a:latin typeface="+mn-ea"/>
              <a:cs typeface="+mn-ea"/>
              <a:sym typeface="+mn-ea"/>
            </a:endParaRPr>
          </a:p>
          <a:p>
            <a:pPr marL="0" algn="l">
              <a:buClr>
                <a:srgbClr val="000000"/>
              </a:buClr>
              <a:buFont typeface="+mj-ea"/>
              <a:buNone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   抓包</a:t>
            </a:r>
            <a:r>
              <a:rPr lang="zh-CN" altLang="en-US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设置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cs typeface="+mn-ea"/>
                <a:sym typeface="+mn-ea"/>
              </a:rPr>
              <a:t>详见URL：  </a:t>
            </a:r>
            <a:r>
              <a:rPr lang="en-US" altLang="zh-CN" sz="1400" dirty="0" smtClean="0">
                <a:solidFill>
                  <a:srgbClr val="00B050"/>
                </a:solidFill>
                <a:latin typeface="+mn-ea"/>
                <a:cs typeface="+mn-ea"/>
                <a:sym typeface="+mn-ea"/>
              </a:rPr>
              <a:t> </a:t>
            </a:r>
            <a:r>
              <a:rPr lang="en-US" altLang="zh-CN" sz="1400" u="sng" dirty="0" smtClean="0">
                <a:solidFill>
                  <a:srgbClr val="92D050"/>
                </a:solidFill>
                <a:latin typeface="+mn-ea"/>
                <a:cs typeface="+mn-ea"/>
                <a:sym typeface="+mn-ea"/>
              </a:rPr>
              <a:t>https://blog.csdn.net/skylin19840101/article/details/43485911</a:t>
            </a:r>
            <a:endParaRPr lang="en-US" altLang="zh-CN" sz="1400" u="sng" dirty="0" smtClean="0">
              <a:solidFill>
                <a:srgbClr val="92D050"/>
              </a:solidFill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1" y="1567277"/>
            <a:ext cx="6295390" cy="261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3123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/>
          <p:cNvSpPr/>
          <p:nvPr/>
        </p:nvSpPr>
        <p:spPr bwMode="auto">
          <a:xfrm>
            <a:off x="2455867" y="190"/>
            <a:ext cx="9729783" cy="4892523"/>
          </a:xfrm>
          <a:custGeom>
            <a:avLst/>
            <a:gdLst>
              <a:gd name="T0" fmla="*/ 0 w 4597"/>
              <a:gd name="T1" fmla="*/ 0 h 2298"/>
              <a:gd name="T2" fmla="*/ 4597 w 4597"/>
              <a:gd name="T3" fmla="*/ 0 h 2298"/>
              <a:gd name="T4" fmla="*/ 2328 w 4597"/>
              <a:gd name="T5" fmla="*/ 2266 h 2298"/>
              <a:gd name="T6" fmla="*/ 2299 w 4597"/>
              <a:gd name="T7" fmla="*/ 2298 h 2298"/>
              <a:gd name="T8" fmla="*/ 0 w 4597"/>
              <a:gd name="T9" fmla="*/ 0 h 2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97" h="2298">
                <a:moveTo>
                  <a:pt x="0" y="0"/>
                </a:moveTo>
                <a:lnTo>
                  <a:pt x="4597" y="0"/>
                </a:lnTo>
                <a:lnTo>
                  <a:pt x="2328" y="2266"/>
                </a:lnTo>
                <a:lnTo>
                  <a:pt x="2299" y="2298"/>
                </a:lnTo>
                <a:lnTo>
                  <a:pt x="0" y="0"/>
                </a:lnTo>
                <a:close/>
              </a:path>
            </a:pathLst>
          </a:custGeom>
          <a:solidFill>
            <a:srgbClr val="D7000F"/>
          </a:solidFill>
          <a:ln w="0">
            <a:noFill/>
            <a:prstDash val="solid"/>
            <a:round/>
          </a:ln>
        </p:spPr>
        <p:txBody>
          <a:bodyPr vert="horz" wrap="square" lIns="121913" tIns="60956" rIns="121913" bIns="60956" numCol="1" anchor="t" anchorCtr="0" compatLnSpc="1"/>
          <a:lstStyle/>
          <a:p>
            <a:endParaRPr lang="zh-CN" altLang="en-US" sz="1705"/>
          </a:p>
        </p:txBody>
      </p:sp>
      <p:sp>
        <p:nvSpPr>
          <p:cNvPr id="7" name="Freeform 7"/>
          <p:cNvSpPr/>
          <p:nvPr/>
        </p:nvSpPr>
        <p:spPr bwMode="auto">
          <a:xfrm>
            <a:off x="7406478" y="161995"/>
            <a:ext cx="4785522" cy="6695817"/>
          </a:xfrm>
          <a:custGeom>
            <a:avLst/>
            <a:gdLst>
              <a:gd name="T0" fmla="*/ 2261 w 2261"/>
              <a:gd name="T1" fmla="*/ 0 h 3145"/>
              <a:gd name="T2" fmla="*/ 2261 w 2261"/>
              <a:gd name="T3" fmla="*/ 3145 h 3145"/>
              <a:gd name="T4" fmla="*/ 883 w 2261"/>
              <a:gd name="T5" fmla="*/ 3145 h 3145"/>
              <a:gd name="T6" fmla="*/ 0 w 2261"/>
              <a:gd name="T7" fmla="*/ 2260 h 3145"/>
              <a:gd name="T8" fmla="*/ 2261 w 2261"/>
              <a:gd name="T9" fmla="*/ 0 h 3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61" h="3145">
                <a:moveTo>
                  <a:pt x="2261" y="0"/>
                </a:moveTo>
                <a:lnTo>
                  <a:pt x="2261" y="3145"/>
                </a:lnTo>
                <a:lnTo>
                  <a:pt x="883" y="3145"/>
                </a:lnTo>
                <a:lnTo>
                  <a:pt x="0" y="2260"/>
                </a:lnTo>
                <a:lnTo>
                  <a:pt x="2261" y="0"/>
                </a:lnTo>
                <a:close/>
              </a:path>
            </a:pathLst>
          </a:custGeom>
          <a:blipFill dpi="0" rotWithShape="1">
            <a:blip r:embed="rId3" cstate="email">
              <a:grayscl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contrast="40000"/>
                      </a14:imgEffect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0">
            <a:noFill/>
            <a:prstDash val="solid"/>
            <a:round/>
          </a:ln>
        </p:spPr>
        <p:txBody>
          <a:bodyPr vert="horz" wrap="square" lIns="121913" tIns="60956" rIns="121913" bIns="60956" numCol="1" anchor="t" anchorCtr="0" compatLnSpc="1"/>
          <a:lstStyle/>
          <a:p>
            <a:endParaRPr lang="zh-CN" altLang="en-US" sz="1705"/>
          </a:p>
        </p:txBody>
      </p:sp>
      <p:sp>
        <p:nvSpPr>
          <p:cNvPr id="8" name="Freeform 8"/>
          <p:cNvSpPr/>
          <p:nvPr/>
        </p:nvSpPr>
        <p:spPr bwMode="auto">
          <a:xfrm>
            <a:off x="5533332" y="5071551"/>
            <a:ext cx="3553689" cy="1786262"/>
          </a:xfrm>
          <a:custGeom>
            <a:avLst/>
            <a:gdLst>
              <a:gd name="T0" fmla="*/ 839 w 1679"/>
              <a:gd name="T1" fmla="*/ 0 h 839"/>
              <a:gd name="T2" fmla="*/ 1679 w 1679"/>
              <a:gd name="T3" fmla="*/ 839 h 839"/>
              <a:gd name="T4" fmla="*/ 0 w 1679"/>
              <a:gd name="T5" fmla="*/ 839 h 839"/>
              <a:gd name="T6" fmla="*/ 839 w 1679"/>
              <a:gd name="T7" fmla="*/ 0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79" h="839">
                <a:moveTo>
                  <a:pt x="839" y="0"/>
                </a:moveTo>
                <a:lnTo>
                  <a:pt x="1679" y="839"/>
                </a:lnTo>
                <a:lnTo>
                  <a:pt x="0" y="839"/>
                </a:lnTo>
                <a:lnTo>
                  <a:pt x="839" y="0"/>
                </a:lnTo>
                <a:close/>
              </a:path>
            </a:pathLst>
          </a:custGeom>
          <a:blipFill dpi="0" rotWithShape="1">
            <a:blip r:embed="rId5" cstate="email">
              <a:grayscl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20000" contrast="40000"/>
                      </a14:imgEffect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0">
            <a:noFill/>
            <a:prstDash val="solid"/>
            <a:round/>
          </a:ln>
        </p:spPr>
        <p:txBody>
          <a:bodyPr vert="horz" wrap="square" lIns="121913" tIns="60956" rIns="121913" bIns="60956" numCol="1" anchor="t" anchorCtr="0" compatLnSpc="1"/>
          <a:lstStyle/>
          <a:p>
            <a:endParaRPr lang="zh-CN" altLang="en-US" sz="1705"/>
          </a:p>
        </p:txBody>
      </p:sp>
      <p:sp>
        <p:nvSpPr>
          <p:cNvPr id="9" name="Freeform 8"/>
          <p:cNvSpPr/>
          <p:nvPr/>
        </p:nvSpPr>
        <p:spPr bwMode="auto">
          <a:xfrm>
            <a:off x="5667887" y="5196181"/>
            <a:ext cx="3305742" cy="1661632"/>
          </a:xfrm>
          <a:custGeom>
            <a:avLst/>
            <a:gdLst>
              <a:gd name="T0" fmla="*/ 839 w 1679"/>
              <a:gd name="T1" fmla="*/ 0 h 839"/>
              <a:gd name="T2" fmla="*/ 1679 w 1679"/>
              <a:gd name="T3" fmla="*/ 839 h 839"/>
              <a:gd name="T4" fmla="*/ 0 w 1679"/>
              <a:gd name="T5" fmla="*/ 839 h 839"/>
              <a:gd name="T6" fmla="*/ 839 w 1679"/>
              <a:gd name="T7" fmla="*/ 0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79" h="839">
                <a:moveTo>
                  <a:pt x="839" y="0"/>
                </a:moveTo>
                <a:lnTo>
                  <a:pt x="1679" y="839"/>
                </a:lnTo>
                <a:lnTo>
                  <a:pt x="0" y="839"/>
                </a:lnTo>
                <a:lnTo>
                  <a:pt x="839" y="0"/>
                </a:lnTo>
                <a:close/>
              </a:path>
            </a:pathLst>
          </a:custGeom>
          <a:solidFill>
            <a:srgbClr val="6E6E6E">
              <a:alpha val="69804"/>
            </a:srgbClr>
          </a:solidFill>
          <a:ln w="0">
            <a:noFill/>
            <a:prstDash val="solid"/>
            <a:round/>
          </a:ln>
        </p:spPr>
        <p:txBody>
          <a:bodyPr vert="horz" wrap="square" lIns="121913" tIns="60956" rIns="121913" bIns="60956" numCol="1" anchor="t" anchorCtr="0" compatLnSpc="1"/>
          <a:lstStyle/>
          <a:p>
            <a:endParaRPr lang="zh-CN" altLang="en-US" sz="1705"/>
          </a:p>
        </p:txBody>
      </p:sp>
      <p:sp>
        <p:nvSpPr>
          <p:cNvPr id="14" name="文本框 13"/>
          <p:cNvSpPr txBox="1"/>
          <p:nvPr/>
        </p:nvSpPr>
        <p:spPr>
          <a:xfrm>
            <a:off x="497511" y="3178490"/>
            <a:ext cx="4847472" cy="5592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zh-CN" altLang="en-US" sz="3035" b="1" cap="all" dirty="0">
                <a:solidFill>
                  <a:srgbClr val="D7000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谢谢！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25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  <p:bldP spid="8" grpId="0" animBg="1"/>
      <p:bldP spid="9" grpId="0" animBg="1"/>
      <p:bldP spid="9" grpId="1" animBg="1"/>
      <p:bldP spid="14" grpId="0"/>
      <p:bldP spid="14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en-US" altLang="zh-CN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http</a:t>
            </a:r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请求方式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23391" y="1255004"/>
            <a:ext cx="10912117" cy="172085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vertOverflow="overflow" horzOverflow="overflow" vert="horz" wrap="square" lIns="45718" tIns="45718" rIns="45718" bIns="45718" numCol="1" spcCol="38100" rtlCol="0" anchor="t" forceAA="0">
            <a:spAutoFit/>
          </a:bodyPr>
          <a:lstStyle/>
          <a:p>
            <a:pPr marL="0" indent="0" fontAlgn="auto">
              <a:lnSpc>
                <a:spcPts val="2800"/>
              </a:lnSpc>
              <a:buClr>
                <a:srgbClr val="000000"/>
              </a:buClr>
              <a:buFont typeface="+mj-ea"/>
              <a:buNone/>
            </a:pPr>
            <a:r>
              <a:rPr lang="zh-CN" altLang="en-US" sz="1400" dirty="0" smtClean="0">
                <a:solidFill>
                  <a:schemeClr val="dk1"/>
                </a:solidFill>
                <a:sym typeface="+mn-ea"/>
              </a:rPr>
              <a:t>根据</a:t>
            </a: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http标准，http请求可以使用很多种请求方法。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indent="0" fontAlgn="auto">
              <a:lnSpc>
                <a:spcPts val="2800"/>
              </a:lnSpc>
              <a:buClr>
                <a:srgbClr val="000000"/>
              </a:buClr>
              <a:buFont typeface="+mj-ea"/>
              <a:buNone/>
            </a:pPr>
            <a:r>
              <a:rPr lang="zh-CN" altLang="en-US" sz="1400" dirty="0" smtClean="0">
                <a:solidFill>
                  <a:schemeClr val="dk1"/>
                </a:solidFill>
                <a:sym typeface="+mn-ea"/>
              </a:rPr>
              <a:t>http</a:t>
            </a: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1.0定义了三种请求方法：get、post及head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indent="0" fontAlgn="auto">
              <a:lnSpc>
                <a:spcPts val="2800"/>
              </a:lnSpc>
              <a:buClr>
                <a:srgbClr val="000000"/>
              </a:buClr>
              <a:buFont typeface="+mj-ea"/>
              <a:buNone/>
            </a:pPr>
            <a:r>
              <a:rPr lang="zh-CN" altLang="en-US" sz="1400" dirty="0" smtClean="0">
                <a:solidFill>
                  <a:schemeClr val="dk1"/>
                </a:solidFill>
                <a:sym typeface="+mn-ea"/>
              </a:rPr>
              <a:t>http</a:t>
            </a: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1.1新增了五种请求方法：options、put、delete、trace及connect</a:t>
            </a:r>
          </a:p>
          <a:p>
            <a:pPr marL="0" indent="0">
              <a:buClr>
                <a:srgbClr val="000000"/>
              </a:buClr>
              <a:buFont typeface="+mj-ea"/>
              <a:buNone/>
            </a:pPr>
            <a:r>
              <a:rPr lang="zh-CN" altLang="en-US" dirty="0" smtClean="0">
                <a:solidFill>
                  <a:srgbClr val="000000"/>
                </a:solidFill>
              </a:rPr>
              <a:t>         </a:t>
            </a:r>
          </a:p>
          <a:p>
            <a:pPr marL="0" indent="0">
              <a:buClr>
                <a:srgbClr val="000000"/>
              </a:buClr>
              <a:buFont typeface="+mj-ea"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宋体" panose="02010600030101010101" pitchFamily="2" charset="-122"/>
              <a:ea typeface="宋体" panose="02010600030101010101" pitchFamily="2" charset="-122"/>
              <a:cs typeface="+mj-cs"/>
              <a:sym typeface="Helvetica"/>
            </a:endParaRPr>
          </a:p>
        </p:txBody>
      </p:sp>
      <p:graphicFrame>
        <p:nvGraphicFramePr>
          <p:cNvPr id="6" name="表格 5"/>
          <p:cNvGraphicFramePr/>
          <p:nvPr>
            <p:extLst>
              <p:ext uri="{D42A27DB-BD31-4B8C-83A1-F6EECF244321}">
                <p14:modId xmlns:p14="http://schemas.microsoft.com/office/powerpoint/2010/main" val="3961971931"/>
              </p:ext>
            </p:extLst>
          </p:nvPr>
        </p:nvGraphicFramePr>
        <p:xfrm>
          <a:off x="623391" y="2866390"/>
          <a:ext cx="8265795" cy="325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10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67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779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78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序号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方法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描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92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请求指定的页面信息，并返回实体主体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988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h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类似于</a:t>
                      </a:r>
                      <a:r>
                        <a:rPr lang="en-US" altLang="zh-CN" sz="1400"/>
                        <a:t>get</a:t>
                      </a:r>
                      <a:r>
                        <a:rPr lang="zh-CN" altLang="en-US" sz="1400"/>
                        <a:t>请求，只不过返回的响应中没有具体内容，用于获取报头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149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p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 dirty="0"/>
                        <a:t>向指定资源提交数据进行处理请求（例如提交表单或上传文件）。数据被包含在请求体中。</a:t>
                      </a:r>
                      <a:r>
                        <a:rPr lang="en-US" altLang="zh-CN" sz="1400" dirty="0"/>
                        <a:t>post</a:t>
                      </a:r>
                      <a:r>
                        <a:rPr lang="zh-CN" altLang="en-US" sz="1400" dirty="0"/>
                        <a:t>请求可能会导致新的资源的建立或已有资源的修改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1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p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从客户端向服务器传送的数据取代指定的文档的内容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de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请求服务器删除指定的页面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78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conn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http/1.1</a:t>
                      </a:r>
                      <a:r>
                        <a:rPr lang="zh-CN" altLang="en-US" sz="1400"/>
                        <a:t>协议中预留给能够将连接改为管道方式的代理服务器。</a:t>
                      </a:r>
                      <a:endParaRPr lang="en-US" altLang="zh-CN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400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>
                          <a:sym typeface="+mn-ea"/>
                        </a:rPr>
                        <a:t>op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允许客户端查看服务器的性能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tr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 dirty="0"/>
                        <a:t>回显服务器收到的请求，主要用于测试或诊断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061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en-US" altLang="zh-CN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http</a:t>
            </a:r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状态码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23391" y="1351720"/>
            <a:ext cx="10912117" cy="429133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vertOverflow="overflow" horzOverflow="overflow" vert="horz" wrap="square" lIns="45718" tIns="45718" rIns="45718" bIns="45718" numCol="1" spcCol="38100" rtlCol="0" anchor="t" forceAA="0">
            <a:spAutoFit/>
          </a:bodyPr>
          <a:lstStyle/>
          <a:p>
            <a:pPr marL="0" algn="l" fontAlgn="auto">
              <a:lnSpc>
                <a:spcPts val="2860"/>
              </a:lnSpc>
              <a:spcBef>
                <a:spcPts val="1000"/>
              </a:spcBef>
              <a:buClr>
                <a:srgbClr val="000000"/>
              </a:buClr>
              <a:buFont typeface="Wingdings" panose="05000000000000000000" charset="0"/>
              <a:buNone/>
            </a:pPr>
            <a:r>
              <a:rPr lang="en-US" altLang="zh-CN" dirty="0" smtClean="0">
                <a:solidFill>
                  <a:srgbClr val="000000"/>
                </a:solidFill>
                <a:sym typeface="+mn-ea"/>
              </a:rPr>
              <a:t>      </a:t>
            </a:r>
            <a:r>
              <a:rPr lang="zh-CN" altLang="en-US" sz="1400" dirty="0" smtClean="0">
                <a:solidFill>
                  <a:schemeClr val="dk1"/>
                </a:solidFill>
                <a:sym typeface="+mn-ea"/>
              </a:rPr>
              <a:t>当</a:t>
            </a: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浏览着访问一个网页时，浏览者的浏览器会向网页所在服务器发出请求。当浏览器接收并显示网页前，此网页所在的服务器会返回一个包含http状态码的信息头（server header）用以响应浏览器的请求。</a:t>
            </a:r>
          </a:p>
          <a:p>
            <a:pPr marL="0" indent="0" fontAlgn="auto">
              <a:lnSpc>
                <a:spcPts val="2400"/>
              </a:lnSpc>
              <a:spcBef>
                <a:spcPts val="1000"/>
              </a:spcBef>
              <a:buClr>
                <a:srgbClr val="000000"/>
              </a:buClr>
              <a:buFont typeface="Wingdings" panose="05000000000000000000" charset="0"/>
              <a:buNone/>
            </a:pPr>
            <a:endParaRPr lang="zh-CN" altLang="en-US" dirty="0" smtClean="0">
              <a:solidFill>
                <a:srgbClr val="000000"/>
              </a:solidFill>
            </a:endParaRPr>
          </a:p>
          <a:p>
            <a:pPr marL="0" indent="0" fontAlgn="auto">
              <a:lnSpc>
                <a:spcPts val="240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zh-CN" altLang="en-US" b="1" dirty="0" smtClean="0">
                <a:solidFill>
                  <a:srgbClr val="92D050"/>
                </a:solidFill>
                <a:sym typeface="+mn-ea"/>
              </a:rPr>
              <a:t>  </a:t>
            </a:r>
            <a:r>
              <a:rPr lang="zh-CN" altLang="en-US" b="1" dirty="0" smtClean="0">
                <a:solidFill>
                  <a:schemeClr val="tx1"/>
                </a:solidFill>
                <a:sym typeface="+mn-ea"/>
              </a:rPr>
              <a:t> </a:t>
            </a:r>
            <a:r>
              <a:rPr lang="zh-CN" altLang="en-US" sz="1400" b="1" dirty="0">
                <a:solidFill>
                  <a:schemeClr val="dk1"/>
                </a:solidFill>
                <a:sym typeface="+mn-ea"/>
              </a:rPr>
              <a:t>常见http状态码列表</a:t>
            </a: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：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indent="0" fontAlgn="auto">
              <a:lnSpc>
                <a:spcPts val="240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     200 - 请求成功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indent="0" fontAlgn="auto">
              <a:lnSpc>
                <a:spcPts val="240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     301 - 资源（网页等）被永久转移到其他url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indent="0" fontAlgn="auto">
              <a:lnSpc>
                <a:spcPts val="240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     404 - 请求的资源（网页等）不存在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indent="0" fontAlgn="auto">
              <a:lnSpc>
                <a:spcPts val="240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     500 - 内部服务器错误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indent="0" fontAlgn="auto">
              <a:lnSpc>
                <a:spcPts val="2400"/>
              </a:lnSpc>
              <a:spcBef>
                <a:spcPts val="1000"/>
              </a:spcBef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     504 - 服务器作为网关或代理，没有及时从客户端收到请求（即网关请求超时）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marR="0" indent="0" algn="l" defTabSz="914400" rtl="0" eaLnBrk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宋体" panose="02010600030101010101" pitchFamily="2" charset="-122"/>
              <a:ea typeface="宋体" panose="02010600030101010101" pitchFamily="2" charset="-122"/>
              <a:cs typeface="+mj-cs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4591282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en-US" altLang="zh-CN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http</a:t>
            </a:r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状态码分类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23391" y="1289880"/>
            <a:ext cx="10854381" cy="836122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vertOverflow="overflow" horzOverflow="overflow" vert="horz" wrap="square" lIns="45718" tIns="45718" rIns="45718" bIns="45718" numCol="1" spcCol="38100" rtlCol="0" anchor="t" forceAA="0">
            <a:spAutoFit/>
          </a:bodyPr>
          <a:lstStyle/>
          <a:p>
            <a:pPr marL="0" indent="0" fontAlgn="auto">
              <a:lnSpc>
                <a:spcPts val="2860"/>
              </a:lnSpc>
              <a:buClr>
                <a:srgbClr val="000000"/>
              </a:buClr>
              <a:buFont typeface="+mj-ea"/>
              <a:buNone/>
            </a:pPr>
            <a:r>
              <a:rPr lang="en-US" altLang="zh-CN" dirty="0" smtClean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1400" dirty="0" smtClean="0">
                <a:solidFill>
                  <a:schemeClr val="dk1"/>
                </a:solidFill>
                <a:sym typeface="+mn-ea"/>
              </a:rPr>
              <a:t>http</a:t>
            </a: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状态码由三个十进制数字组成，第一个十进制数字定义了状态码的类型，后两个数字没有分类的作用。</a:t>
            </a:r>
          </a:p>
          <a:p>
            <a:pPr marL="0" indent="0" fontAlgn="auto">
              <a:lnSpc>
                <a:spcPts val="2860"/>
              </a:lnSpc>
              <a:buClr>
                <a:srgbClr val="000000"/>
              </a:buClr>
              <a:buFont typeface="+mj-ea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 </a:t>
            </a:r>
            <a:r>
              <a:rPr lang="zh-CN" altLang="en-US" sz="1400" dirty="0" smtClean="0">
                <a:solidFill>
                  <a:schemeClr val="dk1"/>
                </a:solidFill>
                <a:sym typeface="+mn-ea"/>
              </a:rPr>
              <a:t>http</a:t>
            </a: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状态码共分为五种类型：</a:t>
            </a:r>
            <a:endParaRPr kumimoji="0" lang="zh-CN" altLang="en-US" sz="1400" i="0" u="none" strike="noStrike" cap="none" spc="0" normalizeH="0" baseline="0" dirty="0">
              <a:solidFill>
                <a:schemeClr val="dk1"/>
              </a:solidFill>
              <a:sym typeface="Helvetica"/>
            </a:endParaRPr>
          </a:p>
        </p:txBody>
      </p:sp>
      <p:graphicFrame>
        <p:nvGraphicFramePr>
          <p:cNvPr id="6" name="表格 5"/>
          <p:cNvGraphicFramePr/>
          <p:nvPr>
            <p:extLst>
              <p:ext uri="{D42A27DB-BD31-4B8C-83A1-F6EECF244321}">
                <p14:modId xmlns:p14="http://schemas.microsoft.com/office/powerpoint/2010/main" val="184783813"/>
              </p:ext>
            </p:extLst>
          </p:nvPr>
        </p:nvGraphicFramePr>
        <p:xfrm>
          <a:off x="623391" y="2652786"/>
          <a:ext cx="7235825" cy="21774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52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306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449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 dirty="0"/>
                        <a:t>分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 dirty="0"/>
                        <a:t>分类描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34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1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信息，服务器收到请求，需要请求者继续执行操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40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2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成功，操作被成功接收并处理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306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3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重定向，需要进一步的操作以完成请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40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4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/>
                        <a:t>客户端错误，请求包含语法错误或无法完成请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449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400"/>
                        <a:t>5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400" dirty="0"/>
                        <a:t>服务器错误，服务器在处理请求的过程中发生了错误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48739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zh-CN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目录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4058670" y="1324189"/>
            <a:ext cx="3333420" cy="599095"/>
            <a:chOff x="2683712" y="4058571"/>
            <a:chExt cx="3233396" cy="317306"/>
          </a:xfrm>
        </p:grpSpPr>
        <p:sp>
          <p:nvSpPr>
            <p:cNvPr id="5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1" name="五边形 50"/>
            <p:cNvSpPr/>
            <p:nvPr/>
          </p:nvSpPr>
          <p:spPr>
            <a:xfrm rot="10800000">
              <a:off x="2683712" y="4058573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2" name="椭圆 51"/>
          <p:cNvSpPr/>
          <p:nvPr/>
        </p:nvSpPr>
        <p:spPr>
          <a:xfrm>
            <a:off x="3619432" y="130119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1</a:t>
            </a:r>
            <a:endParaRPr lang="zh-CN" altLang="en-US" sz="4800" dirty="0"/>
          </a:p>
        </p:txBody>
      </p:sp>
      <p:grpSp>
        <p:nvGrpSpPr>
          <p:cNvPr id="53" name="组合 52"/>
          <p:cNvGrpSpPr/>
          <p:nvPr/>
        </p:nvGrpSpPr>
        <p:grpSpPr>
          <a:xfrm>
            <a:off x="4058670" y="2294284"/>
            <a:ext cx="3333420" cy="599092"/>
            <a:chOff x="2683712" y="4058571"/>
            <a:chExt cx="3233396" cy="317304"/>
          </a:xfrm>
        </p:grpSpPr>
        <p:sp>
          <p:nvSpPr>
            <p:cNvPr id="54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5" name="五边形 54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6" name="椭圆 55"/>
          <p:cNvSpPr/>
          <p:nvPr/>
        </p:nvSpPr>
        <p:spPr>
          <a:xfrm>
            <a:off x="3619432" y="2271283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2</a:t>
            </a:r>
            <a:endParaRPr lang="zh-CN" altLang="en-US" sz="4800" dirty="0"/>
          </a:p>
        </p:txBody>
      </p:sp>
      <p:grpSp>
        <p:nvGrpSpPr>
          <p:cNvPr id="57" name="组合 56"/>
          <p:cNvGrpSpPr/>
          <p:nvPr/>
        </p:nvGrpSpPr>
        <p:grpSpPr>
          <a:xfrm>
            <a:off x="4058670" y="3264369"/>
            <a:ext cx="3333420" cy="599092"/>
            <a:chOff x="2683712" y="4058571"/>
            <a:chExt cx="3233396" cy="317304"/>
          </a:xfrm>
        </p:grpSpPr>
        <p:sp>
          <p:nvSpPr>
            <p:cNvPr id="58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59" name="五边形 58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0" name="椭圆 59"/>
          <p:cNvSpPr/>
          <p:nvPr/>
        </p:nvSpPr>
        <p:spPr>
          <a:xfrm>
            <a:off x="3619432" y="3241368"/>
            <a:ext cx="659045" cy="64509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3</a:t>
            </a:r>
            <a:endParaRPr lang="zh-CN" altLang="en-US" sz="4800" dirty="0"/>
          </a:p>
        </p:txBody>
      </p:sp>
      <p:grpSp>
        <p:nvGrpSpPr>
          <p:cNvPr id="61" name="组合 60"/>
          <p:cNvGrpSpPr/>
          <p:nvPr/>
        </p:nvGrpSpPr>
        <p:grpSpPr>
          <a:xfrm>
            <a:off x="4058670" y="4235077"/>
            <a:ext cx="3333420" cy="607199"/>
            <a:chOff x="2683712" y="4058571"/>
            <a:chExt cx="3233396" cy="317304"/>
          </a:xfrm>
        </p:grpSpPr>
        <p:sp>
          <p:nvSpPr>
            <p:cNvPr id="62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3" name="五边形 62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4" name="椭圆 63"/>
          <p:cNvSpPr/>
          <p:nvPr/>
        </p:nvSpPr>
        <p:spPr>
          <a:xfrm>
            <a:off x="3619432" y="4211453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4</a:t>
            </a:r>
            <a:endParaRPr lang="zh-CN" altLang="en-US" sz="4800" dirty="0"/>
          </a:p>
        </p:txBody>
      </p:sp>
      <p:grpSp>
        <p:nvGrpSpPr>
          <p:cNvPr id="65" name="组合 64"/>
          <p:cNvGrpSpPr/>
          <p:nvPr/>
        </p:nvGrpSpPr>
        <p:grpSpPr>
          <a:xfrm>
            <a:off x="4058670" y="5190268"/>
            <a:ext cx="3333420" cy="607199"/>
            <a:chOff x="2683712" y="4058571"/>
            <a:chExt cx="3233396" cy="317304"/>
          </a:xfrm>
        </p:grpSpPr>
        <p:sp>
          <p:nvSpPr>
            <p:cNvPr id="66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67" name="五边形 66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8" name="椭圆 67"/>
          <p:cNvSpPr/>
          <p:nvPr/>
        </p:nvSpPr>
        <p:spPr>
          <a:xfrm>
            <a:off x="3619432" y="5166644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5</a:t>
            </a:r>
            <a:endParaRPr lang="zh-CN" altLang="en-US" sz="4800" dirty="0"/>
          </a:p>
        </p:txBody>
      </p:sp>
      <p:grpSp>
        <p:nvGrpSpPr>
          <p:cNvPr id="69" name="组合 68"/>
          <p:cNvGrpSpPr/>
          <p:nvPr/>
        </p:nvGrpSpPr>
        <p:grpSpPr>
          <a:xfrm>
            <a:off x="4058670" y="6145459"/>
            <a:ext cx="3333420" cy="630200"/>
            <a:chOff x="2683712" y="4058571"/>
            <a:chExt cx="3233396" cy="317304"/>
          </a:xfrm>
        </p:grpSpPr>
        <p:sp>
          <p:nvSpPr>
            <p:cNvPr id="70" name="五边形 4"/>
            <p:cNvSpPr txBox="1"/>
            <p:nvPr/>
          </p:nvSpPr>
          <p:spPr>
            <a:xfrm rot="21600000">
              <a:off x="2763038" y="4058571"/>
              <a:ext cx="3154070" cy="3173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0854" tIns="41910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kumimoji="0" lang="en-US" altLang="zh-CN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bug</a:t>
              </a:r>
              <a:r>
                <a:rPr kumimoji="0" lang="zh-CN" altLang="en-US" sz="1100" kern="120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uFillTx/>
                  <a:ea typeface="宋体" panose="02010600030101010101" pitchFamily="2" charset="-122"/>
                  <a:sym typeface="Helvetica"/>
                </a:rPr>
                <a:t>的定义</a:t>
              </a:r>
              <a:endParaRPr lang="zh-CN" altLang="en-US" sz="1100" kern="1200" dirty="0">
                <a:solidFill>
                  <a:srgbClr val="FF0000"/>
                </a:solidFill>
                <a:latin typeface="+mj-ea"/>
                <a:ea typeface="+mj-ea"/>
              </a:endParaRPr>
            </a:p>
          </p:txBody>
        </p:sp>
        <p:sp>
          <p:nvSpPr>
            <p:cNvPr id="71" name="五边形 70"/>
            <p:cNvSpPr/>
            <p:nvPr/>
          </p:nvSpPr>
          <p:spPr>
            <a:xfrm rot="10800000">
              <a:off x="2683712" y="4058571"/>
              <a:ext cx="3233396" cy="317304"/>
            </a:xfrm>
            <a:prstGeom prst="homePlate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72" name="椭圆 71"/>
          <p:cNvSpPr/>
          <p:nvPr/>
        </p:nvSpPr>
        <p:spPr>
          <a:xfrm>
            <a:off x="3619432" y="6121835"/>
            <a:ext cx="659045" cy="653824"/>
          </a:xfrm>
          <a:prstGeom prst="ellipse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800" dirty="0"/>
              <a:t>6</a:t>
            </a:r>
            <a:endParaRPr lang="zh-CN" altLang="en-US" sz="4800" dirty="0"/>
          </a:p>
        </p:txBody>
      </p:sp>
      <p:sp>
        <p:nvSpPr>
          <p:cNvPr id="73" name="文本框 72"/>
          <p:cNvSpPr txBox="1"/>
          <p:nvPr/>
        </p:nvSpPr>
        <p:spPr bwMode="auto">
          <a:xfrm>
            <a:off x="4234423" y="1283473"/>
            <a:ext cx="2473999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457200" algn="ctr">
              <a:lnSpc>
                <a:spcPct val="150000"/>
              </a:lnSpc>
            </a:pPr>
            <a:r>
              <a:rPr lang="zh-CN" altLang="en-US" sz="2400" dirty="0" smtClean="0">
                <a:sym typeface="+mn-ea"/>
              </a:rPr>
              <a:t>预热</a:t>
            </a:r>
            <a:endParaRPr lang="zh-CN" altLang="en-US" sz="2400" b="1" dirty="0"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4" name="文本框 73"/>
          <p:cNvSpPr txBox="1"/>
          <p:nvPr/>
        </p:nvSpPr>
        <p:spPr bwMode="auto">
          <a:xfrm>
            <a:off x="4363153" y="2292883"/>
            <a:ext cx="2806234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400" dirty="0">
                <a:solidFill>
                  <a:srgbClr val="FF0000"/>
                </a:solidFill>
                <a:sym typeface="+mn-ea"/>
              </a:rPr>
              <a:t>f</a:t>
            </a:r>
            <a:r>
              <a:rPr lang="zh-CN" altLang="en-US" sz="2400" dirty="0">
                <a:solidFill>
                  <a:srgbClr val="FF0000"/>
                </a:solidFill>
                <a:sym typeface="+mn-ea"/>
              </a:rPr>
              <a:t>iddler是</a:t>
            </a:r>
            <a:r>
              <a:rPr lang="zh-CN" altLang="en-US" sz="2400" dirty="0" smtClean="0">
                <a:solidFill>
                  <a:srgbClr val="FF0000"/>
                </a:solidFill>
                <a:sym typeface="+mn-ea"/>
              </a:rPr>
              <a:t>什么</a:t>
            </a:r>
            <a:endParaRPr lang="zh-CN" altLang="en-US" sz="2400" b="1" dirty="0" smtClean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sym typeface="Helvetica"/>
            </a:endParaRPr>
          </a:p>
        </p:txBody>
      </p:sp>
      <p:sp>
        <p:nvSpPr>
          <p:cNvPr id="75" name="文本框 74"/>
          <p:cNvSpPr txBox="1"/>
          <p:nvPr/>
        </p:nvSpPr>
        <p:spPr bwMode="auto">
          <a:xfrm>
            <a:off x="4157380" y="322235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界面</a:t>
            </a:r>
            <a:r>
              <a:rPr lang="zh-CN" altLang="en-US" sz="2400" dirty="0" smtClean="0">
                <a:sym typeface="+mn-ea"/>
              </a:rPr>
              <a:t>概况</a:t>
            </a:r>
            <a:endParaRPr lang="zh-CN" altLang="en-US" sz="2400" dirty="0"/>
          </a:p>
        </p:txBody>
      </p:sp>
      <p:sp>
        <p:nvSpPr>
          <p:cNvPr id="76" name="文本框 75"/>
          <p:cNvSpPr txBox="1"/>
          <p:nvPr/>
        </p:nvSpPr>
        <p:spPr bwMode="auto">
          <a:xfrm>
            <a:off x="4167452" y="4194932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抓包</a:t>
            </a:r>
            <a:r>
              <a:rPr lang="zh-CN" altLang="en-US" sz="2400" dirty="0" smtClean="0">
                <a:sym typeface="+mn-ea"/>
              </a:rPr>
              <a:t>简介</a:t>
            </a:r>
            <a:endParaRPr lang="zh-CN" altLang="en-US" sz="2400" dirty="0">
              <a:sym typeface="+mn-ea"/>
            </a:endParaRPr>
          </a:p>
        </p:txBody>
      </p:sp>
      <p:sp>
        <p:nvSpPr>
          <p:cNvPr id="77" name="文本框 76"/>
          <p:cNvSpPr txBox="1"/>
          <p:nvPr/>
        </p:nvSpPr>
        <p:spPr bwMode="auto">
          <a:xfrm>
            <a:off x="4167453" y="5165017"/>
            <a:ext cx="3335661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 algn="ctr">
              <a:lnSpc>
                <a:spcPct val="150000"/>
              </a:lnSpc>
            </a:pPr>
            <a:r>
              <a:rPr lang="en-US" altLang="zh-CN" sz="2400" dirty="0">
                <a:sym typeface="+mn-ea"/>
              </a:rPr>
              <a:t>fiddler</a:t>
            </a:r>
            <a:r>
              <a:rPr lang="zh-CN" altLang="en-US" sz="2400" dirty="0">
                <a:sym typeface="+mn-ea"/>
              </a:rPr>
              <a:t>内置命令</a:t>
            </a:r>
            <a:endParaRPr lang="zh-CN" altLang="en-US" sz="2400" dirty="0"/>
          </a:p>
        </p:txBody>
      </p:sp>
      <p:sp>
        <p:nvSpPr>
          <p:cNvPr id="78" name="文本框 77"/>
          <p:cNvSpPr txBox="1"/>
          <p:nvPr/>
        </p:nvSpPr>
        <p:spPr bwMode="auto">
          <a:xfrm>
            <a:off x="4360258" y="6098834"/>
            <a:ext cx="3391052" cy="552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68580" tIns="34290" rIns="68580" bIns="34290" numCol="1" rtlCol="0" anchor="t" anchorCtr="0" compatLnSpc="1">
            <a:spAutoFit/>
          </a:bodyPr>
          <a:lstStyle/>
          <a:p>
            <a:pPr marL="536575" indent="-476250">
              <a:lnSpc>
                <a:spcPct val="150000"/>
              </a:lnSpc>
            </a:pPr>
            <a:r>
              <a:rPr lang="zh-CN" altLang="en-US" sz="2400" dirty="0">
                <a:sym typeface="+mn-ea"/>
              </a:rPr>
              <a:t>解密</a:t>
            </a:r>
            <a:r>
              <a:rPr lang="en-US" altLang="zh-CN" sz="2400" dirty="0">
                <a:sym typeface="+mn-ea"/>
              </a:rPr>
              <a:t>https</a:t>
            </a:r>
            <a:r>
              <a:rPr lang="zh-CN" altLang="en-US" sz="2400" dirty="0">
                <a:sym typeface="+mn-ea"/>
              </a:rPr>
              <a:t>的网络数据</a:t>
            </a:r>
          </a:p>
        </p:txBody>
      </p:sp>
    </p:spTree>
    <p:extLst>
      <p:ext uri="{BB962C8B-B14F-4D97-AF65-F5344CB8AC3E}">
        <p14:creationId xmlns:p14="http://schemas.microsoft.com/office/powerpoint/2010/main" val="29146880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什么是</a:t>
            </a:r>
            <a:r>
              <a:rPr lang="en-US" altLang="zh-CN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fiddler?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23392" y="1303850"/>
            <a:ext cx="10885740" cy="22467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vertOverflow="overflow" horzOverflow="overflow" vert="horz" wrap="square" lIns="45718" tIns="45718" rIns="45718" bIns="45718" numCol="1" spcCol="38100" rtlCol="0" anchor="t" forceAA="0">
            <a:spAutoFit/>
          </a:bodyPr>
          <a:lstStyle/>
          <a:p>
            <a:pPr marL="0" algn="l" fontAlgn="auto">
              <a:lnSpc>
                <a:spcPts val="2760"/>
              </a:lnSpc>
              <a:buClr>
                <a:srgbClr val="000000"/>
              </a:buClr>
              <a:buFont typeface="Wingdings" panose="05000000000000000000" charset="0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fiddler--是位于客户端和服务器端的http代理，也是目前最常用的http抓包工具之一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algn="l" fontAlgn="auto">
              <a:lnSpc>
                <a:spcPts val="2760"/>
              </a:lnSpc>
              <a:buClr>
                <a:srgbClr val="000000"/>
              </a:buClr>
              <a:buFont typeface="Wingdings" panose="05000000000000000000" charset="0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1、监控http或https的流量，截获浏览器或者客户端向服务器发送的http或者https请求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algn="l" fontAlgn="auto">
              <a:lnSpc>
                <a:spcPts val="2760"/>
              </a:lnSpc>
              <a:buClr>
                <a:srgbClr val="000000"/>
              </a:buClr>
              <a:buFont typeface="Wingdings" panose="05000000000000000000" charset="0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2、查看截获后请求的内容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algn="l" fontAlgn="auto">
              <a:lnSpc>
                <a:spcPts val="2760"/>
              </a:lnSpc>
              <a:buClr>
                <a:srgbClr val="000000"/>
              </a:buClr>
              <a:buFont typeface="Wingdings" panose="05000000000000000000" charset="0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3、伪造服务器返回的请求，伪造一个请求发送给服务器，方便前后端调试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marL="0" algn="l" fontAlgn="auto">
              <a:lnSpc>
                <a:spcPts val="2760"/>
              </a:lnSpc>
              <a:buClr>
                <a:srgbClr val="000000"/>
              </a:buClr>
              <a:buFont typeface="Wingdings" panose="05000000000000000000" charset="0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4、性能分析和优化--Inspectors、Timeline</a:t>
            </a:r>
          </a:p>
          <a:p>
            <a:pPr marL="0" algn="l" fontAlgn="auto">
              <a:lnSpc>
                <a:spcPts val="2760"/>
              </a:lnSpc>
              <a:buClr>
                <a:srgbClr val="000000"/>
              </a:buClr>
              <a:buFont typeface="Wingdings" panose="05000000000000000000" charset="0"/>
              <a:buNone/>
            </a:pPr>
            <a:r>
              <a:rPr lang="zh-CN" altLang="en-US" sz="1400" dirty="0">
                <a:solidFill>
                  <a:schemeClr val="dk1"/>
                </a:solidFill>
                <a:sym typeface="+mn-ea"/>
              </a:rPr>
              <a:t>5、解密https的web会话，通过fiddler进行解密操作</a:t>
            </a:r>
            <a:endParaRPr kumimoji="0" lang="zh-CN" altLang="en-US" sz="1400" i="0" u="none" strike="noStrike" cap="none" spc="0" normalizeH="0" baseline="0" dirty="0">
              <a:solidFill>
                <a:schemeClr val="dk1"/>
              </a:solidFill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6885528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391" y="549498"/>
            <a:ext cx="7560841" cy="503238"/>
          </a:xfrm>
        </p:spPr>
        <p:txBody>
          <a:bodyPr>
            <a:noAutofit/>
          </a:bodyPr>
          <a:lstStyle/>
          <a:p>
            <a:pPr algn="l" eaLnBrk="1" hangingPunct="1"/>
            <a:r>
              <a:rPr lang="en-US" altLang="zh-CN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Fiddler</a:t>
            </a:r>
            <a:r>
              <a:rPr lang="zh-CN" alt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</a:rPr>
              <a:t>工作原理</a:t>
            </a:r>
            <a:endParaRPr lang="en-US" altLang="zh-CN" sz="2400" b="1" dirty="0">
              <a:solidFill>
                <a:prstClr val="black">
                  <a:lumMod val="75000"/>
                  <a:lumOff val="25000"/>
                </a:prstClr>
              </a:solidFill>
              <a:latin typeface="+mj-ea"/>
            </a:endParaRPr>
          </a:p>
        </p:txBody>
      </p:sp>
      <p:pic>
        <p:nvPicPr>
          <p:cNvPr id="4" name="内容占位符 2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51927" y="1175873"/>
            <a:ext cx="7575550" cy="368744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829923" y="4986455"/>
            <a:ext cx="7979410" cy="115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2760"/>
              </a:lnSpc>
              <a:buClr>
                <a:srgbClr val="000000"/>
              </a:buClr>
              <a:buNone/>
            </a:pPr>
            <a:r>
              <a:rPr lang="en-US" altLang="zh-CN" sz="1400" b="0" dirty="0" smtClean="0">
                <a:solidFill>
                  <a:srgbClr val="000000"/>
                </a:solidFill>
                <a:latin typeface="+mn-lt"/>
                <a:ea typeface="+mn-ea"/>
                <a:sym typeface="+mn-ea"/>
              </a:rPr>
              <a:t>   </a:t>
            </a:r>
            <a:r>
              <a:rPr lang="zh-CN" altLang="en-US" sz="1400" b="0" dirty="0">
                <a:solidFill>
                  <a:schemeClr val="dk1"/>
                </a:solidFill>
                <a:latin typeface="+mn-lt"/>
                <a:ea typeface="+mn-ea"/>
                <a:sym typeface="+mn-ea"/>
              </a:rPr>
              <a:t>  在客户端和服务器端之间创建了一个代理服务器，客户端发起的所有的请求都要通过       </a:t>
            </a:r>
          </a:p>
          <a:p>
            <a:pPr algn="l">
              <a:lnSpc>
                <a:spcPts val="2760"/>
              </a:lnSpc>
              <a:buClr>
                <a:srgbClr val="000000"/>
              </a:buClr>
              <a:buNone/>
            </a:pPr>
            <a:r>
              <a:rPr lang="zh-CN" altLang="en-US" sz="1400" b="0" dirty="0">
                <a:solidFill>
                  <a:schemeClr val="dk1"/>
                </a:solidFill>
                <a:latin typeface="+mn-lt"/>
                <a:ea typeface="+mn-ea"/>
                <a:sym typeface="+mn-ea"/>
              </a:rPr>
              <a:t>     fiddler创建的这个代理服务器才能到达最终它所请求的服务器</a:t>
            </a:r>
            <a:endParaRPr lang="zh-CN" altLang="en-US" sz="1400" dirty="0">
              <a:solidFill>
                <a:schemeClr val="dk1"/>
              </a:solidFill>
            </a:endParaRPr>
          </a:p>
          <a:p>
            <a:pPr algn="l">
              <a:lnSpc>
                <a:spcPts val="2760"/>
              </a:lnSpc>
              <a:buClr>
                <a:srgbClr val="000000"/>
              </a:buClr>
              <a:buNone/>
            </a:pPr>
            <a:endParaRPr lang="zh-CN" altLang="en-US" sz="14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824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海康">
  <a:themeElements>
    <a:clrScheme name="角度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 w="9525">
          <a:noFill/>
          <a:miter lim="800000"/>
        </a:ln>
      </a:spPr>
      <a:bodyPr vert="horz" wrap="square" lIns="68580" tIns="34290" rIns="68580" bIns="34290" numCol="1" anchor="t" anchorCtr="0" compatLnSpc="1"/>
      <a:lstStyle>
        <a:defPPr marL="457200" indent="0">
          <a:lnSpc>
            <a:spcPct val="150000"/>
          </a:lnSpc>
          <a:buNone/>
          <a:defRPr sz="1400" kern="0" dirty="0" smtClean="0">
            <a:latin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_海康主题">
  <a:themeElements>
    <a:clrScheme name="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04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主题1">
  <a:themeElements>
    <a:clrScheme name="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04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海康威视PPT模板-2011（微软雅黑+Vedana） - 副本">
  <a:themeElements>
    <a:clrScheme name="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04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海康威视PPT模板-2011（微软雅黑+Vedana） - 副本">
  <a:themeElements>
    <a:clrScheme name="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04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海康威视PPT模板-2011（微软雅黑+Vedana） - 副本">
  <a:themeElements>
    <a:clrScheme name="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 cap="flat" cmpd="sng" algn="ctr">
          <a:solidFill>
            <a:srgbClr val="A8C0C0">
              <a:shade val="50000"/>
            </a:srgbClr>
          </a:solidFill>
          <a:prstDash val="solid"/>
        </a:ln>
      </a:spPr>
      <a:bodyPr rtlCol="0" anchor="ctr"/>
      <a:lstStyle>
        <a:defPPr algn="ctr" defTabSz="1218565">
          <a:defRPr sz="1600" kern="0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海康威视PPT模板-2011（微软雅黑+Vedana） - 副本">
  <a:themeElements>
    <a:clrScheme name="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04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海康威视PPT模板-2011（微软雅黑+Vedana） - 副本">
  <a:themeElements>
    <a:clrScheme name="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04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主题​​">
  <a:themeElements>
    <a:clrScheme name="角度">
      <a:dk1>
        <a:srgbClr val="000000"/>
      </a:dk1>
      <a:lt1>
        <a:srgbClr val="FFFFFF"/>
      </a:lt1>
      <a:dk2>
        <a:srgbClr val="000018"/>
      </a:dk2>
      <a:lt2>
        <a:srgbClr val="D7F0D7"/>
      </a:lt2>
      <a:accent1>
        <a:srgbClr val="A8C0C0"/>
      </a:accent1>
      <a:accent2>
        <a:srgbClr val="483018"/>
      </a:accent2>
      <a:accent3>
        <a:srgbClr val="181830"/>
      </a:accent3>
      <a:accent4>
        <a:srgbClr val="603018"/>
      </a:accent4>
      <a:accent5>
        <a:srgbClr val="A84830"/>
      </a:accent5>
      <a:accent6>
        <a:srgbClr val="C04830"/>
      </a:accent6>
      <a:hlink>
        <a:srgbClr val="C09078"/>
      </a:hlink>
      <a:folHlink>
        <a:srgbClr val="D8A878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海康</Template>
  <TotalTime>265</TotalTime>
  <Words>2100</Words>
  <Application>Microsoft Office PowerPoint</Application>
  <PresentationFormat>宽屏</PresentationFormat>
  <Paragraphs>414</Paragraphs>
  <Slides>34</Slides>
  <Notes>28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60" baseType="lpstr">
      <vt:lpstr>Arial Unicode MS</vt:lpstr>
      <vt:lpstr>等线</vt:lpstr>
      <vt:lpstr>黑体</vt:lpstr>
      <vt:lpstr>宋体</vt:lpstr>
      <vt:lpstr>微软雅黑</vt:lpstr>
      <vt:lpstr>Agency FB</vt:lpstr>
      <vt:lpstr>Arial</vt:lpstr>
      <vt:lpstr>Arial Black</vt:lpstr>
      <vt:lpstr>Calibri</vt:lpstr>
      <vt:lpstr>Franklin Gothic Book</vt:lpstr>
      <vt:lpstr>Franklin Gothic Medium</vt:lpstr>
      <vt:lpstr>Helvetica</vt:lpstr>
      <vt:lpstr>Verdana</vt:lpstr>
      <vt:lpstr>Wingdings</vt:lpstr>
      <vt:lpstr>海康</vt:lpstr>
      <vt:lpstr>自定义设计方案</vt:lpstr>
      <vt:lpstr>主题1</vt:lpstr>
      <vt:lpstr>1_海康威视PPT模板-2011（微软雅黑+Vedana） - 副本</vt:lpstr>
      <vt:lpstr>3_海康威视PPT模板-2011（微软雅黑+Vedana） - 副本</vt:lpstr>
      <vt:lpstr>4_海康威视PPT模板-2011（微软雅黑+Vedana） - 副本</vt:lpstr>
      <vt:lpstr>5_海康威视PPT模板-2011（微软雅黑+Vedana） - 副本</vt:lpstr>
      <vt:lpstr>7_海康威视PPT模板-2011（微软雅黑+Vedana） - 副本</vt:lpstr>
      <vt:lpstr>Office 主题​​</vt:lpstr>
      <vt:lpstr>1_自定义设计方案</vt:lpstr>
      <vt:lpstr>1_海康主题</vt:lpstr>
      <vt:lpstr>think-cell Slide</vt:lpstr>
      <vt:lpstr>PowerPoint 演示文稿</vt:lpstr>
      <vt:lpstr>目录</vt:lpstr>
      <vt:lpstr>已知的接口调试工具</vt:lpstr>
      <vt:lpstr>http请求方式</vt:lpstr>
      <vt:lpstr>http状态码</vt:lpstr>
      <vt:lpstr>http状态码分类</vt:lpstr>
      <vt:lpstr>目录</vt:lpstr>
      <vt:lpstr>什么是fiddler?</vt:lpstr>
      <vt:lpstr>Fiddler工作原理</vt:lpstr>
      <vt:lpstr>Fiddler下载安装</vt:lpstr>
      <vt:lpstr>目录</vt:lpstr>
      <vt:lpstr>Fiddler界面概况</vt:lpstr>
      <vt:lpstr>Fiddler界面-工具栏</vt:lpstr>
      <vt:lpstr>工具栏-按钮含义</vt:lpstr>
      <vt:lpstr>工具栏-按钮含义</vt:lpstr>
      <vt:lpstr>fidder之session栏</vt:lpstr>
      <vt:lpstr>session栏-字段含义</vt:lpstr>
      <vt:lpstr>session栏-图标含义</vt:lpstr>
      <vt:lpstr>fiddler界面-request栏</vt:lpstr>
      <vt:lpstr>fiddler界面-request栏</vt:lpstr>
      <vt:lpstr>request栏--字段含义</vt:lpstr>
      <vt:lpstr>request栏之filters</vt:lpstr>
      <vt:lpstr>filters请求过滤规则设置</vt:lpstr>
      <vt:lpstr>目录</vt:lpstr>
      <vt:lpstr>composer-模拟请求</vt:lpstr>
      <vt:lpstr>Inspectors-窗口</vt:lpstr>
      <vt:lpstr>Inspectors之request</vt:lpstr>
      <vt:lpstr>Inspectors之response</vt:lpstr>
      <vt:lpstr>目录</vt:lpstr>
      <vt:lpstr>fiddler内置命令</vt:lpstr>
      <vt:lpstr>目录</vt:lpstr>
      <vt:lpstr>fiddler设置解密https的网络数据</vt:lpstr>
      <vt:lpstr>小结</vt:lpstr>
      <vt:lpstr>PowerPoint 演示文稿</vt:lpstr>
    </vt:vector>
  </TitlesOfParts>
  <Company>Hikvision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付宗旺</dc:creator>
  <cp:lastModifiedBy>孔盼</cp:lastModifiedBy>
  <cp:revision>887</cp:revision>
  <dcterms:created xsi:type="dcterms:W3CDTF">2019-08-23T02:46:00Z</dcterms:created>
  <dcterms:modified xsi:type="dcterms:W3CDTF">2020-04-26T10:10:00Z</dcterms:modified>
  <cp:contentStatus>最终状态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00</vt:lpwstr>
  </property>
  <property fmtid="{D5CDD505-2E9C-101B-9397-08002B2CF9AE}" pid="3" name="_MarkAsFinal">
    <vt:bool>true</vt:bool>
  </property>
</Properties>
</file>